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85.xml" ContentType="application/vnd.openxmlformats-officedocument.presentationml.tags+xml"/>
  <Override PartName="/ppt/notesSlides/notesSlide1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2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3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4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5.xml" ContentType="application/vnd.openxmlformats-officedocument.presentationml.notesSlide+xml"/>
  <Override PartName="/ppt/tags/tag19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5.xml" ContentType="application/vnd.openxmlformats-officedocument.presentationml.tags+xml"/>
  <Override PartName="/ppt/notesSlides/notesSlide6.xml" ContentType="application/vnd.openxmlformats-officedocument.presentationml.notesSlide+xml"/>
  <Override PartName="/ppt/tags/tag196.xml" ContentType="application/vnd.openxmlformats-officedocument.presentationml.tags+xml"/>
  <Override PartName="/ppt/notesSlides/notesSlide7.xml" ContentType="application/vnd.openxmlformats-officedocument.presentationml.notesSlide+xml"/>
  <Override PartName="/ppt/tags/tag19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98.xml" ContentType="application/vnd.openxmlformats-officedocument.presentationml.tags+xml"/>
  <Override PartName="/ppt/notesSlides/notesSlide28.xml" ContentType="application/vnd.openxmlformats-officedocument.presentationml.notesSlide+xml"/>
  <Override PartName="/ppt/tags/tag199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30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3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820" r:id="rId26"/>
    <p:sldMasterId id="2147483871" r:id="rId27"/>
    <p:sldMasterId id="2147483896" r:id="rId28"/>
    <p:sldMasterId id="2147483921" r:id="rId29"/>
    <p:sldMasterId id="2147483966" r:id="rId30"/>
  </p:sldMasterIdLst>
  <p:notesMasterIdLst>
    <p:notesMasterId r:id="rId122"/>
  </p:notesMasterIdLst>
  <p:handoutMasterIdLst>
    <p:handoutMasterId r:id="rId123"/>
  </p:handoutMasterIdLst>
  <p:sldIdLst>
    <p:sldId id="258" r:id="rId31"/>
    <p:sldId id="2147479606" r:id="rId32"/>
    <p:sldId id="2147479610" r:id="rId33"/>
    <p:sldId id="2147479574" r:id="rId34"/>
    <p:sldId id="2147479640" r:id="rId35"/>
    <p:sldId id="2147479648" r:id="rId36"/>
    <p:sldId id="2147479649" r:id="rId37"/>
    <p:sldId id="2147479666" r:id="rId38"/>
    <p:sldId id="2147479633" r:id="rId39"/>
    <p:sldId id="2147479613" r:id="rId40"/>
    <p:sldId id="299" r:id="rId41"/>
    <p:sldId id="2147479624" r:id="rId42"/>
    <p:sldId id="2147479642" r:id="rId43"/>
    <p:sldId id="2147479634" r:id="rId44"/>
    <p:sldId id="2147479643" r:id="rId45"/>
    <p:sldId id="2147479635" r:id="rId46"/>
    <p:sldId id="2147479644" r:id="rId47"/>
    <p:sldId id="2147479645" r:id="rId48"/>
    <p:sldId id="256" r:id="rId49"/>
    <p:sldId id="303" r:id="rId50"/>
    <p:sldId id="277" r:id="rId51"/>
    <p:sldId id="321" r:id="rId52"/>
    <p:sldId id="320" r:id="rId53"/>
    <p:sldId id="270" r:id="rId54"/>
    <p:sldId id="319" r:id="rId55"/>
    <p:sldId id="265" r:id="rId56"/>
    <p:sldId id="316" r:id="rId57"/>
    <p:sldId id="318" r:id="rId58"/>
    <p:sldId id="330" r:id="rId59"/>
    <p:sldId id="311" r:id="rId60"/>
    <p:sldId id="2147479667" r:id="rId61"/>
    <p:sldId id="305" r:id="rId62"/>
    <p:sldId id="263" r:id="rId63"/>
    <p:sldId id="267" r:id="rId64"/>
    <p:sldId id="2147479668" r:id="rId65"/>
    <p:sldId id="308" r:id="rId66"/>
    <p:sldId id="317" r:id="rId67"/>
    <p:sldId id="2147479669" r:id="rId68"/>
    <p:sldId id="309" r:id="rId69"/>
    <p:sldId id="310" r:id="rId70"/>
    <p:sldId id="313" r:id="rId71"/>
    <p:sldId id="322" r:id="rId72"/>
    <p:sldId id="272" r:id="rId73"/>
    <p:sldId id="315" r:id="rId74"/>
    <p:sldId id="2147479670" r:id="rId75"/>
    <p:sldId id="324" r:id="rId76"/>
    <p:sldId id="2147479671" r:id="rId77"/>
    <p:sldId id="2147479672" r:id="rId78"/>
    <p:sldId id="306" r:id="rId79"/>
    <p:sldId id="2147479673" r:id="rId80"/>
    <p:sldId id="2147479674" r:id="rId81"/>
    <p:sldId id="2147479675" r:id="rId82"/>
    <p:sldId id="2147479676" r:id="rId83"/>
    <p:sldId id="314" r:id="rId84"/>
    <p:sldId id="2147479677" r:id="rId85"/>
    <p:sldId id="2147479678" r:id="rId86"/>
    <p:sldId id="2147479679" r:id="rId87"/>
    <p:sldId id="323" r:id="rId88"/>
    <p:sldId id="2147479680" r:id="rId89"/>
    <p:sldId id="2147479681" r:id="rId90"/>
    <p:sldId id="266" r:id="rId91"/>
    <p:sldId id="295" r:id="rId92"/>
    <p:sldId id="2147479682" r:id="rId93"/>
    <p:sldId id="298" r:id="rId94"/>
    <p:sldId id="2147479683" r:id="rId95"/>
    <p:sldId id="2147479684" r:id="rId96"/>
    <p:sldId id="300" r:id="rId97"/>
    <p:sldId id="301" r:id="rId98"/>
    <p:sldId id="297" r:id="rId99"/>
    <p:sldId id="302" r:id="rId100"/>
    <p:sldId id="2147479685" r:id="rId101"/>
    <p:sldId id="2147479686" r:id="rId102"/>
    <p:sldId id="257" r:id="rId103"/>
    <p:sldId id="2147479636" r:id="rId104"/>
    <p:sldId id="2147479637" r:id="rId105"/>
    <p:sldId id="2147479646" r:id="rId106"/>
    <p:sldId id="2147479650" r:id="rId107"/>
    <p:sldId id="2147479652" r:id="rId108"/>
    <p:sldId id="2147479651" r:id="rId109"/>
    <p:sldId id="2147479653" r:id="rId110"/>
    <p:sldId id="2147479654" r:id="rId111"/>
    <p:sldId id="2147479655" r:id="rId112"/>
    <p:sldId id="2147479656" r:id="rId113"/>
    <p:sldId id="2147479657" r:id="rId114"/>
    <p:sldId id="2147479658" r:id="rId115"/>
    <p:sldId id="2147479638" r:id="rId116"/>
    <p:sldId id="2147479662" r:id="rId117"/>
    <p:sldId id="2147479663" r:id="rId118"/>
    <p:sldId id="2147479664" r:id="rId119"/>
    <p:sldId id="2147479639" r:id="rId120"/>
    <p:sldId id="2147479665" r:id="rId121"/>
  </p:sldIdLst>
  <p:sldSz cx="12192000" cy="6858000"/>
  <p:notesSz cx="6881813" cy="10002838"/>
  <p:embeddedFontLst>
    <p:embeddedFont>
      <p:font typeface="Avenir Next LT Pro Demi" panose="020B0704020202020204" pitchFamily="34" charset="0"/>
      <p:bold r:id="rId124"/>
      <p:boldItalic r:id="rId125"/>
    </p:embeddedFont>
    <p:embeddedFont>
      <p:font typeface="Avenir Next LT Pro Light" panose="020B0304020202020204" pitchFamily="34" charset="0"/>
      <p:regular r:id="rId126"/>
      <p:italic r:id="rId127"/>
    </p:embeddedFont>
    <p:embeddedFont>
      <p:font typeface="Calibri" panose="020F0502020204030204" pitchFamily="34" charset="0"/>
      <p:regular r:id="rId128"/>
      <p:bold r:id="rId129"/>
      <p:italic r:id="rId130"/>
      <p:boldItalic r:id="rId131"/>
    </p:embeddedFont>
    <p:embeddedFont>
      <p:font typeface="Calibri Light" panose="020F0302020204030204" pitchFamily="34" charset="0"/>
      <p:regular r:id="rId132"/>
      <p:italic r:id="rId133"/>
    </p:embeddedFont>
  </p:embeddedFontLst>
  <p:custDataLst>
    <p:tags r:id="rId1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504" userDrawn="1">
          <p15:clr>
            <a:srgbClr val="A4A3A4"/>
          </p15:clr>
        </p15:guide>
        <p15:guide id="2" pos="3940" userDrawn="1">
          <p15:clr>
            <a:srgbClr val="A4A3A4"/>
          </p15:clr>
        </p15:guide>
        <p15:guide id="3" pos="438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90F24-5EE8-48F3-1C12-6A6DDCDFA8D0}" name="Amr Ellabban" initials="AE" userId="S::amr.ellabban@hgcapital.com::3ceb5c96-1c45-4259-9de2-b20ebaf3d3e7" providerId="AD"/>
  <p188:author id="{FEFEA32E-E850-FB13-B412-129580F4B2D2}" name="Tim Harrison" initials="TH" userId="S::tim.harrison@hgcapital.com::61ef5f6b-264d-448c-b633-36b697ac99da" providerId="AD"/>
  <p188:author id="{8508DC2F-9CA5-0F78-6B60-A211E79C29FB}" name="Richard Poole" initials="RP" userId="S::Richard.Poole@hgcapital.com::4e0cbeaa-a899-4d51-a324-6020fab610d0" providerId="AD"/>
  <p188:author id="{3315B05A-ACBB-EBC9-E881-F0EB116D5220}" name="Stuart Pearce" initials="" userId="S::Stuart.Pearce@hgcapital.com::6807ee30-3f1f-4d19-bdba-9250cea9983e" providerId="AD"/>
  <p188:author id="{9482127D-4967-21CC-5E3A-308194ED8FA3}" name="Srivaths Swaminathan" initials="SS" userId="S::Srivaths.Swaminathan@hgcapital.com::fab820a8-d04c-4fb7-bc62-495e227921e9" providerId="AD"/>
  <p188:author id="{01C6138A-28BE-6E5F-16AC-4AC0002AD048}" name="Srivaths Swaminathan" initials="SS" userId="S::srivaths.swaminathan@hgcapital.com::fab820a8-d04c-4fb7-bc62-495e227921e9" providerId="AD"/>
  <p188:author id="{50350A92-8B69-CBDB-CC94-CE96D3E28EFC}" name="Stuart Pearce" initials="SP" userId="S::stuart.pearce@hgcapital.com::6807ee30-3f1f-4d19-bdba-9250cea9983e" providerId="AD"/>
  <p188:author id="{37E285AB-6FF9-913E-36BA-D581ED07F754}" name="Amr Ellabban" initials="AE" userId="S::Amr.Ellabban@hgcapital.com::3ceb5c96-1c45-4259-9de2-b20ebaf3d3e7" providerId="AD"/>
  <p188:author id="{408E96B3-2B6D-AB14-7295-193D2A697169}" name="Jason Richards" initials="JR" userId="S::jason.richards@hgcapital.com::ec33cc85-282f-4c60-b6b3-78226884a063" providerId="AD"/>
  <p188:author id="{A5CB15BD-8402-E0E3-2DFB-332100CE4659}" name="Eamon Rivers" initials="ER" userId="S::Eamon.Rivers@hgcapital.com::956d6d30-7046-42d6-9cf6-180e303d8cb6" providerId="AD"/>
  <p188:author id="{496BEAD8-CD56-7A28-3F45-FB59F0327581}" name="Alan Ince" initials="AI" userId="S::alan.ince@hgcapital.com::0e1237a9-4da6-409f-aacc-c78fe394b87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C7C8"/>
    <a:srgbClr val="009650"/>
    <a:srgbClr val="008C50"/>
    <a:srgbClr val="F32D2A"/>
    <a:srgbClr val="FFE171"/>
    <a:srgbClr val="DFAF00"/>
    <a:srgbClr val="E4F7BB"/>
    <a:srgbClr val="EEFAD2"/>
    <a:srgbClr val="A00610"/>
    <a:srgbClr val="E16B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EB892F-946E-4A9A-9C41-6D7A8E17C0B3}" v="42" dt="2023-10-23T15:46:10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–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52" y="28"/>
      </p:cViewPr>
      <p:guideLst>
        <p:guide pos="1504"/>
        <p:guide pos="3940"/>
        <p:guide pos="43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87.xml"/><Relationship Id="rId21" Type="http://schemas.openxmlformats.org/officeDocument/2006/relationships/customXml" Target="../customXml/item21.xml"/><Relationship Id="rId42" Type="http://schemas.openxmlformats.org/officeDocument/2006/relationships/slide" Target="slides/slide12.xml"/><Relationship Id="rId63" Type="http://schemas.openxmlformats.org/officeDocument/2006/relationships/slide" Target="slides/slide33.xml"/><Relationship Id="rId84" Type="http://schemas.openxmlformats.org/officeDocument/2006/relationships/slide" Target="slides/slide54.xml"/><Relationship Id="rId138" Type="http://schemas.openxmlformats.org/officeDocument/2006/relationships/tableStyles" Target="tableStyles.xml"/><Relationship Id="rId107" Type="http://schemas.openxmlformats.org/officeDocument/2006/relationships/slide" Target="slides/slide77.xml"/><Relationship Id="rId11" Type="http://schemas.openxmlformats.org/officeDocument/2006/relationships/customXml" Target="../customXml/item11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53" Type="http://schemas.openxmlformats.org/officeDocument/2006/relationships/slide" Target="slides/slide23.xml"/><Relationship Id="rId58" Type="http://schemas.openxmlformats.org/officeDocument/2006/relationships/slide" Target="slides/slide28.xml"/><Relationship Id="rId74" Type="http://schemas.openxmlformats.org/officeDocument/2006/relationships/slide" Target="slides/slide44.xml"/><Relationship Id="rId79" Type="http://schemas.openxmlformats.org/officeDocument/2006/relationships/slide" Target="slides/slide49.xml"/><Relationship Id="rId102" Type="http://schemas.openxmlformats.org/officeDocument/2006/relationships/slide" Target="slides/slide72.xml"/><Relationship Id="rId123" Type="http://schemas.openxmlformats.org/officeDocument/2006/relationships/handoutMaster" Target="handoutMasters/handoutMaster1.xml"/><Relationship Id="rId128" Type="http://schemas.openxmlformats.org/officeDocument/2006/relationships/font" Target="fonts/font5.fntdata"/><Relationship Id="rId5" Type="http://schemas.openxmlformats.org/officeDocument/2006/relationships/customXml" Target="../customXml/item5.xml"/><Relationship Id="rId90" Type="http://schemas.openxmlformats.org/officeDocument/2006/relationships/slide" Target="slides/slide60.xml"/><Relationship Id="rId95" Type="http://schemas.openxmlformats.org/officeDocument/2006/relationships/slide" Target="slides/slide65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2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64" Type="http://schemas.openxmlformats.org/officeDocument/2006/relationships/slide" Target="slides/slide34.xml"/><Relationship Id="rId69" Type="http://schemas.openxmlformats.org/officeDocument/2006/relationships/slide" Target="slides/slide39.xml"/><Relationship Id="rId113" Type="http://schemas.openxmlformats.org/officeDocument/2006/relationships/slide" Target="slides/slide83.xml"/><Relationship Id="rId118" Type="http://schemas.openxmlformats.org/officeDocument/2006/relationships/slide" Target="slides/slide88.xml"/><Relationship Id="rId134" Type="http://schemas.openxmlformats.org/officeDocument/2006/relationships/tags" Target="tags/tag1.xml"/><Relationship Id="rId139" Type="http://schemas.microsoft.com/office/2016/11/relationships/changesInfo" Target="changesInfos/changesInfo1.xml"/><Relationship Id="rId80" Type="http://schemas.openxmlformats.org/officeDocument/2006/relationships/slide" Target="slides/slide50.xml"/><Relationship Id="rId85" Type="http://schemas.openxmlformats.org/officeDocument/2006/relationships/slide" Target="slides/slide55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59" Type="http://schemas.openxmlformats.org/officeDocument/2006/relationships/slide" Target="slides/slide29.xml"/><Relationship Id="rId103" Type="http://schemas.openxmlformats.org/officeDocument/2006/relationships/slide" Target="slides/slide73.xml"/><Relationship Id="rId108" Type="http://schemas.openxmlformats.org/officeDocument/2006/relationships/slide" Target="slides/slide78.xml"/><Relationship Id="rId124" Type="http://schemas.openxmlformats.org/officeDocument/2006/relationships/font" Target="fonts/font1.fntdata"/><Relationship Id="rId129" Type="http://schemas.openxmlformats.org/officeDocument/2006/relationships/font" Target="fonts/font6.fntdata"/><Relationship Id="rId54" Type="http://schemas.openxmlformats.org/officeDocument/2006/relationships/slide" Target="slides/slide24.xml"/><Relationship Id="rId70" Type="http://schemas.openxmlformats.org/officeDocument/2006/relationships/slide" Target="slides/slide40.xml"/><Relationship Id="rId75" Type="http://schemas.openxmlformats.org/officeDocument/2006/relationships/slide" Target="slides/slide45.xml"/><Relationship Id="rId91" Type="http://schemas.openxmlformats.org/officeDocument/2006/relationships/slide" Target="slides/slide61.xml"/><Relationship Id="rId96" Type="http://schemas.openxmlformats.org/officeDocument/2006/relationships/slide" Target="slides/slide66.xml"/><Relationship Id="rId14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3.xml"/><Relationship Id="rId49" Type="http://schemas.openxmlformats.org/officeDocument/2006/relationships/slide" Target="slides/slide19.xml"/><Relationship Id="rId114" Type="http://schemas.openxmlformats.org/officeDocument/2006/relationships/slide" Target="slides/slide84.xml"/><Relationship Id="rId119" Type="http://schemas.openxmlformats.org/officeDocument/2006/relationships/slide" Target="slides/slide89.xml"/><Relationship Id="rId44" Type="http://schemas.openxmlformats.org/officeDocument/2006/relationships/slide" Target="slides/slide14.xml"/><Relationship Id="rId60" Type="http://schemas.openxmlformats.org/officeDocument/2006/relationships/slide" Target="slides/slide30.xml"/><Relationship Id="rId65" Type="http://schemas.openxmlformats.org/officeDocument/2006/relationships/slide" Target="slides/slide35.xml"/><Relationship Id="rId81" Type="http://schemas.openxmlformats.org/officeDocument/2006/relationships/slide" Target="slides/slide51.xml"/><Relationship Id="rId86" Type="http://schemas.openxmlformats.org/officeDocument/2006/relationships/slide" Target="slides/slide56.xml"/><Relationship Id="rId130" Type="http://schemas.openxmlformats.org/officeDocument/2006/relationships/font" Target="fonts/font7.fntdata"/><Relationship Id="rId135" Type="http://schemas.openxmlformats.org/officeDocument/2006/relationships/presProps" Target="presProps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" Target="slides/slide9.xml"/><Relationship Id="rId109" Type="http://schemas.openxmlformats.org/officeDocument/2006/relationships/slide" Target="slides/slide79.xml"/><Relationship Id="rId34" Type="http://schemas.openxmlformats.org/officeDocument/2006/relationships/slide" Target="slides/slide4.xml"/><Relationship Id="rId50" Type="http://schemas.openxmlformats.org/officeDocument/2006/relationships/slide" Target="slides/slide20.xml"/><Relationship Id="rId55" Type="http://schemas.openxmlformats.org/officeDocument/2006/relationships/slide" Target="slides/slide25.xml"/><Relationship Id="rId76" Type="http://schemas.openxmlformats.org/officeDocument/2006/relationships/slide" Target="slides/slide46.xml"/><Relationship Id="rId97" Type="http://schemas.openxmlformats.org/officeDocument/2006/relationships/slide" Target="slides/slide67.xml"/><Relationship Id="rId104" Type="http://schemas.openxmlformats.org/officeDocument/2006/relationships/slide" Target="slides/slide74.xml"/><Relationship Id="rId120" Type="http://schemas.openxmlformats.org/officeDocument/2006/relationships/slide" Target="slides/slide90.xml"/><Relationship Id="rId125" Type="http://schemas.openxmlformats.org/officeDocument/2006/relationships/font" Target="fonts/font2.fntdata"/><Relationship Id="rId141" Type="http://schemas.microsoft.com/office/2018/10/relationships/authors" Target="authors.xml"/><Relationship Id="rId7" Type="http://schemas.openxmlformats.org/officeDocument/2006/relationships/customXml" Target="../customXml/item7.xml"/><Relationship Id="rId71" Type="http://schemas.openxmlformats.org/officeDocument/2006/relationships/slide" Target="slides/slide41.xml"/><Relationship Id="rId92" Type="http://schemas.openxmlformats.org/officeDocument/2006/relationships/slide" Target="slides/slide62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4.xml"/><Relationship Id="rId24" Type="http://schemas.openxmlformats.org/officeDocument/2006/relationships/customXml" Target="../customXml/item24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66" Type="http://schemas.openxmlformats.org/officeDocument/2006/relationships/slide" Target="slides/slide36.xml"/><Relationship Id="rId87" Type="http://schemas.openxmlformats.org/officeDocument/2006/relationships/slide" Target="slides/slide57.xml"/><Relationship Id="rId110" Type="http://schemas.openxmlformats.org/officeDocument/2006/relationships/slide" Target="slides/slide80.xml"/><Relationship Id="rId115" Type="http://schemas.openxmlformats.org/officeDocument/2006/relationships/slide" Target="slides/slide85.xml"/><Relationship Id="rId131" Type="http://schemas.openxmlformats.org/officeDocument/2006/relationships/font" Target="fonts/font8.fntdata"/><Relationship Id="rId136" Type="http://schemas.openxmlformats.org/officeDocument/2006/relationships/viewProps" Target="viewProps.xml"/><Relationship Id="rId61" Type="http://schemas.openxmlformats.org/officeDocument/2006/relationships/slide" Target="slides/slide31.xml"/><Relationship Id="rId82" Type="http://schemas.openxmlformats.org/officeDocument/2006/relationships/slide" Target="slides/slide5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slideMaster" Target="slideMasters/slideMaster5.xml"/><Relationship Id="rId35" Type="http://schemas.openxmlformats.org/officeDocument/2006/relationships/slide" Target="slides/slide5.xml"/><Relationship Id="rId56" Type="http://schemas.openxmlformats.org/officeDocument/2006/relationships/slide" Target="slides/slide26.xml"/><Relationship Id="rId77" Type="http://schemas.openxmlformats.org/officeDocument/2006/relationships/slide" Target="slides/slide47.xml"/><Relationship Id="rId100" Type="http://schemas.openxmlformats.org/officeDocument/2006/relationships/slide" Target="slides/slide70.xml"/><Relationship Id="rId105" Type="http://schemas.openxmlformats.org/officeDocument/2006/relationships/slide" Target="slides/slide75.xml"/><Relationship Id="rId126" Type="http://schemas.openxmlformats.org/officeDocument/2006/relationships/font" Target="fonts/font3.fntdata"/><Relationship Id="rId8" Type="http://schemas.openxmlformats.org/officeDocument/2006/relationships/customXml" Target="../customXml/item8.xml"/><Relationship Id="rId51" Type="http://schemas.openxmlformats.org/officeDocument/2006/relationships/slide" Target="slides/slide21.xml"/><Relationship Id="rId72" Type="http://schemas.openxmlformats.org/officeDocument/2006/relationships/slide" Target="slides/slide42.xml"/><Relationship Id="rId93" Type="http://schemas.openxmlformats.org/officeDocument/2006/relationships/slide" Target="slides/slide63.xml"/><Relationship Id="rId98" Type="http://schemas.openxmlformats.org/officeDocument/2006/relationships/slide" Target="slides/slide68.xml"/><Relationship Id="rId121" Type="http://schemas.openxmlformats.org/officeDocument/2006/relationships/slide" Target="slides/slide91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slide" Target="slides/slide16.xml"/><Relationship Id="rId67" Type="http://schemas.openxmlformats.org/officeDocument/2006/relationships/slide" Target="slides/slide37.xml"/><Relationship Id="rId116" Type="http://schemas.openxmlformats.org/officeDocument/2006/relationships/slide" Target="slides/slide86.xml"/><Relationship Id="rId137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slide" Target="slides/slide11.xml"/><Relationship Id="rId62" Type="http://schemas.openxmlformats.org/officeDocument/2006/relationships/slide" Target="slides/slide32.xml"/><Relationship Id="rId83" Type="http://schemas.openxmlformats.org/officeDocument/2006/relationships/slide" Target="slides/slide53.xml"/><Relationship Id="rId88" Type="http://schemas.openxmlformats.org/officeDocument/2006/relationships/slide" Target="slides/slide58.xml"/><Relationship Id="rId111" Type="http://schemas.openxmlformats.org/officeDocument/2006/relationships/slide" Target="slides/slide81.xml"/><Relationship Id="rId132" Type="http://schemas.openxmlformats.org/officeDocument/2006/relationships/font" Target="fonts/font9.fntdata"/><Relationship Id="rId15" Type="http://schemas.openxmlformats.org/officeDocument/2006/relationships/customXml" Target="../customXml/item15.xml"/><Relationship Id="rId36" Type="http://schemas.openxmlformats.org/officeDocument/2006/relationships/slide" Target="slides/slide6.xml"/><Relationship Id="rId57" Type="http://schemas.openxmlformats.org/officeDocument/2006/relationships/slide" Target="slides/slide27.xml"/><Relationship Id="rId106" Type="http://schemas.openxmlformats.org/officeDocument/2006/relationships/slide" Target="slides/slide76.xml"/><Relationship Id="rId127" Type="http://schemas.openxmlformats.org/officeDocument/2006/relationships/font" Target="fonts/font4.fntdata"/><Relationship Id="rId10" Type="http://schemas.openxmlformats.org/officeDocument/2006/relationships/customXml" Target="../customXml/item10.xml"/><Relationship Id="rId31" Type="http://schemas.openxmlformats.org/officeDocument/2006/relationships/slide" Target="slides/slide1.xml"/><Relationship Id="rId52" Type="http://schemas.openxmlformats.org/officeDocument/2006/relationships/slide" Target="slides/slide22.xml"/><Relationship Id="rId73" Type="http://schemas.openxmlformats.org/officeDocument/2006/relationships/slide" Target="slides/slide43.xml"/><Relationship Id="rId78" Type="http://schemas.openxmlformats.org/officeDocument/2006/relationships/slide" Target="slides/slide48.xml"/><Relationship Id="rId94" Type="http://schemas.openxmlformats.org/officeDocument/2006/relationships/slide" Target="slides/slide64.xml"/><Relationship Id="rId99" Type="http://schemas.openxmlformats.org/officeDocument/2006/relationships/slide" Target="slides/slide69.xml"/><Relationship Id="rId101" Type="http://schemas.openxmlformats.org/officeDocument/2006/relationships/slide" Target="slides/slide71.xml"/><Relationship Id="rId122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26" Type="http://schemas.openxmlformats.org/officeDocument/2006/relationships/slideMaster" Target="slideMasters/slideMaster1.xml"/><Relationship Id="rId47" Type="http://schemas.openxmlformats.org/officeDocument/2006/relationships/slide" Target="slides/slide17.xml"/><Relationship Id="rId68" Type="http://schemas.openxmlformats.org/officeDocument/2006/relationships/slide" Target="slides/slide38.xml"/><Relationship Id="rId89" Type="http://schemas.openxmlformats.org/officeDocument/2006/relationships/slide" Target="slides/slide59.xml"/><Relationship Id="rId112" Type="http://schemas.openxmlformats.org/officeDocument/2006/relationships/slide" Target="slides/slide82.xml"/><Relationship Id="rId133" Type="http://schemas.openxmlformats.org/officeDocument/2006/relationships/font" Target="fonts/font10.fntdata"/><Relationship Id="rId16" Type="http://schemas.openxmlformats.org/officeDocument/2006/relationships/customXml" Target="../customXml/item1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uart Pearce" userId="6807ee30-3f1f-4d19-bdba-9250cea9983e" providerId="ADAL" clId="{98EB892F-946E-4A9A-9C41-6D7A8E17C0B3}"/>
    <pc:docChg chg="custSel addSld delSld modSld sldOrd replTag">
      <pc:chgData name="Stuart Pearce" userId="6807ee30-3f1f-4d19-bdba-9250cea9983e" providerId="ADAL" clId="{98EB892F-946E-4A9A-9C41-6D7A8E17C0B3}" dt="2023-10-23T15:46:10.488" v="1048" actId="27636"/>
      <pc:docMkLst>
        <pc:docMk/>
      </pc:docMkLst>
      <pc:sldChg chg="del">
        <pc:chgData name="Stuart Pearce" userId="6807ee30-3f1f-4d19-bdba-9250cea9983e" providerId="ADAL" clId="{98EB892F-946E-4A9A-9C41-6D7A8E17C0B3}" dt="2023-10-23T15:43:39.473" v="1044"/>
        <pc:sldMkLst>
          <pc:docMk/>
          <pc:sldMk cId="3516055137" sldId="311"/>
        </pc:sldMkLst>
      </pc:sldChg>
      <pc:sldChg chg="ord">
        <pc:chgData name="Stuart Pearce" userId="6807ee30-3f1f-4d19-bdba-9250cea9983e" providerId="ADAL" clId="{98EB892F-946E-4A9A-9C41-6D7A8E17C0B3}" dt="2023-10-23T15:45:00.925" v="1046"/>
        <pc:sldMkLst>
          <pc:docMk/>
          <pc:sldMk cId="4131508026" sldId="2147479637"/>
        </pc:sldMkLst>
      </pc:sldChg>
      <pc:sldChg chg="addSp delSp modSp new add mod">
        <pc:chgData name="Stuart Pearce" userId="6807ee30-3f1f-4d19-bdba-9250cea9983e" providerId="ADAL" clId="{98EB892F-946E-4A9A-9C41-6D7A8E17C0B3}" dt="2023-10-16T08:04:43.573" v="1043" actId="20577"/>
        <pc:sldMkLst>
          <pc:docMk/>
          <pc:sldMk cId="3400405768" sldId="2147479666"/>
        </pc:sldMkLst>
        <pc:spChg chg="mod">
          <ac:chgData name="Stuart Pearce" userId="6807ee30-3f1f-4d19-bdba-9250cea9983e" providerId="ADAL" clId="{98EB892F-946E-4A9A-9C41-6D7A8E17C0B3}" dt="2023-10-16T07:39:19.426" v="132" actId="948"/>
          <ac:spMkLst>
            <pc:docMk/>
            <pc:sldMk cId="3400405768" sldId="2147479666"/>
            <ac:spMk id="2" creationId="{D107E8D6-4D54-0E03-0805-A27C8C4FBB0C}"/>
          </ac:spMkLst>
        </pc:spChg>
        <pc:spChg chg="mod">
          <ac:chgData name="Stuart Pearce" userId="6807ee30-3f1f-4d19-bdba-9250cea9983e" providerId="ADAL" clId="{98EB892F-946E-4A9A-9C41-6D7A8E17C0B3}" dt="2023-10-16T08:04:43.573" v="1043" actId="20577"/>
          <ac:spMkLst>
            <pc:docMk/>
            <pc:sldMk cId="3400405768" sldId="2147479666"/>
            <ac:spMk id="3" creationId="{878954E3-1F41-45BE-FD56-C6BF166ABE07}"/>
          </ac:spMkLst>
        </pc:spChg>
        <pc:spChg chg="del">
          <ac:chgData name="Stuart Pearce" userId="6807ee30-3f1f-4d19-bdba-9250cea9983e" providerId="ADAL" clId="{98EB892F-946E-4A9A-9C41-6D7A8E17C0B3}" dt="2023-10-16T07:40:39.564" v="239" actId="478"/>
          <ac:spMkLst>
            <pc:docMk/>
            <pc:sldMk cId="3400405768" sldId="2147479666"/>
            <ac:spMk id="4" creationId="{46BF3486-87B6-6A2A-CD30-AE71A4264BE5}"/>
          </ac:spMkLst>
        </pc:spChg>
        <pc:spChg chg="mod">
          <ac:chgData name="Stuart Pearce" userId="6807ee30-3f1f-4d19-bdba-9250cea9983e" providerId="ADAL" clId="{98EB892F-946E-4A9A-9C41-6D7A8E17C0B3}" dt="2023-10-16T07:39:45.425" v="220" actId="20577"/>
          <ac:spMkLst>
            <pc:docMk/>
            <pc:sldMk cId="3400405768" sldId="2147479666"/>
            <ac:spMk id="5" creationId="{2CBA45FB-08BE-8AA5-7E9E-54DC0D2F83DE}"/>
          </ac:spMkLst>
        </pc:spChg>
        <pc:spChg chg="add del mod modVis">
          <ac:chgData name="Stuart Pearce" userId="6807ee30-3f1f-4d19-bdba-9250cea9983e" providerId="ADAL" clId="{98EB892F-946E-4A9A-9C41-6D7A8E17C0B3}" dt="2023-10-16T07:39:12.145" v="59"/>
          <ac:spMkLst>
            <pc:docMk/>
            <pc:sldMk cId="3400405768" sldId="2147479666"/>
            <ac:spMk id="6" creationId="{19331F6E-67F9-F32A-47FB-043A54EC9B57}"/>
          </ac:spMkLst>
        </pc:spChg>
        <pc:spChg chg="add del mod modVis">
          <ac:chgData name="Stuart Pearce" userId="6807ee30-3f1f-4d19-bdba-9250cea9983e" providerId="ADAL" clId="{98EB892F-946E-4A9A-9C41-6D7A8E17C0B3}" dt="2023-10-16T07:39:17.787" v="128"/>
          <ac:spMkLst>
            <pc:docMk/>
            <pc:sldMk cId="3400405768" sldId="2147479666"/>
            <ac:spMk id="8" creationId="{615A4E49-EC8F-5FA8-6511-51D432199892}"/>
          </ac:spMkLst>
        </pc:spChg>
        <pc:spChg chg="add del mod modVis">
          <ac:chgData name="Stuart Pearce" userId="6807ee30-3f1f-4d19-bdba-9250cea9983e" providerId="ADAL" clId="{98EB892F-946E-4A9A-9C41-6D7A8E17C0B3}" dt="2023-10-16T07:39:19.478" v="173"/>
          <ac:spMkLst>
            <pc:docMk/>
            <pc:sldMk cId="3400405768" sldId="2147479666"/>
            <ac:spMk id="9" creationId="{044D753D-5F20-2E74-6F62-698FE16BC9EE}"/>
          </ac:spMkLst>
        </pc:spChg>
        <pc:spChg chg="add mod">
          <ac:chgData name="Stuart Pearce" userId="6807ee30-3f1f-4d19-bdba-9250cea9983e" providerId="ADAL" clId="{98EB892F-946E-4A9A-9C41-6D7A8E17C0B3}" dt="2023-10-16T07:44:54.535" v="276" actId="14100"/>
          <ac:spMkLst>
            <pc:docMk/>
            <pc:sldMk cId="3400405768" sldId="2147479666"/>
            <ac:spMk id="10" creationId="{9C66430C-3B73-5F18-1F91-F8A047B239B9}"/>
          </ac:spMkLst>
        </pc:spChg>
        <pc:spChg chg="add mod">
          <ac:chgData name="Stuart Pearce" userId="6807ee30-3f1f-4d19-bdba-9250cea9983e" providerId="ADAL" clId="{98EB892F-946E-4A9A-9C41-6D7A8E17C0B3}" dt="2023-10-16T07:49:52.572" v="543" actId="408"/>
          <ac:spMkLst>
            <pc:docMk/>
            <pc:sldMk cId="3400405768" sldId="2147479666"/>
            <ac:spMk id="11" creationId="{937CAC78-ED19-44DB-0A0A-6F6BCA4097E4}"/>
          </ac:spMkLst>
        </pc:spChg>
        <pc:spChg chg="add mod">
          <ac:chgData name="Stuart Pearce" userId="6807ee30-3f1f-4d19-bdba-9250cea9983e" providerId="ADAL" clId="{98EB892F-946E-4A9A-9C41-6D7A8E17C0B3}" dt="2023-10-16T07:49:52.572" v="543" actId="408"/>
          <ac:spMkLst>
            <pc:docMk/>
            <pc:sldMk cId="3400405768" sldId="2147479666"/>
            <ac:spMk id="12" creationId="{830B85A2-1362-665C-D929-E4A06F32F7FF}"/>
          </ac:spMkLst>
        </pc:spChg>
        <pc:spChg chg="add mod">
          <ac:chgData name="Stuart Pearce" userId="6807ee30-3f1f-4d19-bdba-9250cea9983e" providerId="ADAL" clId="{98EB892F-946E-4A9A-9C41-6D7A8E17C0B3}" dt="2023-10-16T07:49:59.663" v="544" actId="1076"/>
          <ac:spMkLst>
            <pc:docMk/>
            <pc:sldMk cId="3400405768" sldId="2147479666"/>
            <ac:spMk id="13" creationId="{FC158A50-D05C-0556-9F8B-BCB2222B1CBF}"/>
          </ac:spMkLst>
        </pc:spChg>
        <pc:spChg chg="add mod">
          <ac:chgData name="Stuart Pearce" userId="6807ee30-3f1f-4d19-bdba-9250cea9983e" providerId="ADAL" clId="{98EB892F-946E-4A9A-9C41-6D7A8E17C0B3}" dt="2023-10-16T07:50:04.210" v="545" actId="1076"/>
          <ac:spMkLst>
            <pc:docMk/>
            <pc:sldMk cId="3400405768" sldId="2147479666"/>
            <ac:spMk id="14" creationId="{7C9EE1EE-975E-42B2-B6CF-B69C3E553291}"/>
          </ac:spMkLst>
        </pc:spChg>
        <pc:spChg chg="add mod">
          <ac:chgData name="Stuart Pearce" userId="6807ee30-3f1f-4d19-bdba-9250cea9983e" providerId="ADAL" clId="{98EB892F-946E-4A9A-9C41-6D7A8E17C0B3}" dt="2023-10-16T07:49:39.279" v="542" actId="1038"/>
          <ac:spMkLst>
            <pc:docMk/>
            <pc:sldMk cId="3400405768" sldId="2147479666"/>
            <ac:spMk id="15" creationId="{790C3302-8860-B065-DEBC-EBA6BDACA74E}"/>
          </ac:spMkLst>
        </pc:spChg>
        <pc:spChg chg="mod">
          <ac:chgData name="Stuart Pearce" userId="6807ee30-3f1f-4d19-bdba-9250cea9983e" providerId="ADAL" clId="{98EB892F-946E-4A9A-9C41-6D7A8E17C0B3}" dt="2023-10-16T07:53:38.545" v="566"/>
          <ac:spMkLst>
            <pc:docMk/>
            <pc:sldMk cId="3400405768" sldId="2147479666"/>
            <ac:spMk id="22" creationId="{373B3079-947E-4291-A1FD-F3297E2A1658}"/>
          </ac:spMkLst>
        </pc:spChg>
        <pc:spChg chg="add mod">
          <ac:chgData name="Stuart Pearce" userId="6807ee30-3f1f-4d19-bdba-9250cea9983e" providerId="ADAL" clId="{98EB892F-946E-4A9A-9C41-6D7A8E17C0B3}" dt="2023-10-16T07:54:36.323" v="598" actId="404"/>
          <ac:spMkLst>
            <pc:docMk/>
            <pc:sldMk cId="3400405768" sldId="2147479666"/>
            <ac:spMk id="23" creationId="{4F958D20-7CEE-2CCF-2868-6A262B4CEF09}"/>
          </ac:spMkLst>
        </pc:spChg>
        <pc:grpChg chg="add del mod">
          <ac:chgData name="Stuart Pearce" userId="6807ee30-3f1f-4d19-bdba-9250cea9983e" providerId="ADAL" clId="{98EB892F-946E-4A9A-9C41-6D7A8E17C0B3}" dt="2023-10-16T07:54:14.355" v="569" actId="478"/>
          <ac:grpSpMkLst>
            <pc:docMk/>
            <pc:sldMk cId="3400405768" sldId="2147479666"/>
            <ac:grpSpMk id="20" creationId="{75041E09-777E-4A3E-EE7A-5990E3CD2566}"/>
          </ac:grpSpMkLst>
        </pc:grpChg>
        <pc:graphicFrameChg chg="add mod ord modVis replST">
          <ac:chgData name="Stuart Pearce" userId="6807ee30-3f1f-4d19-bdba-9250cea9983e" providerId="ADAL" clId="{98EB892F-946E-4A9A-9C41-6D7A8E17C0B3}" dt="2023-10-16T07:39:19.481" v="175"/>
          <ac:graphicFrameMkLst>
            <pc:docMk/>
            <pc:sldMk cId="3400405768" sldId="2147479666"/>
            <ac:graphicFrameMk id="7" creationId="{5BC6979F-16AB-F2E5-7D43-0A2C413366BA}"/>
          </ac:graphicFrameMkLst>
        </pc:graphicFrameChg>
        <pc:picChg chg="add mod">
          <ac:chgData name="Stuart Pearce" userId="6807ee30-3f1f-4d19-bdba-9250cea9983e" providerId="ADAL" clId="{98EB892F-946E-4A9A-9C41-6D7A8E17C0B3}" dt="2023-10-16T07:50:43.538" v="554" actId="14100"/>
          <ac:picMkLst>
            <pc:docMk/>
            <pc:sldMk cId="3400405768" sldId="2147479666"/>
            <ac:picMk id="16" creationId="{5E01C935-3E8B-7A50-F77A-0237379EE93F}"/>
          </ac:picMkLst>
        </pc:picChg>
        <pc:picChg chg="add mod">
          <ac:chgData name="Stuart Pearce" userId="6807ee30-3f1f-4d19-bdba-9250cea9983e" providerId="ADAL" clId="{98EB892F-946E-4A9A-9C41-6D7A8E17C0B3}" dt="2023-10-16T07:51:27.430" v="558" actId="14100"/>
          <ac:picMkLst>
            <pc:docMk/>
            <pc:sldMk cId="3400405768" sldId="2147479666"/>
            <ac:picMk id="17" creationId="{9C431A46-C75D-CF5A-821B-DF33F5AC612C}"/>
          </ac:picMkLst>
        </pc:picChg>
        <pc:picChg chg="add mod">
          <ac:chgData name="Stuart Pearce" userId="6807ee30-3f1f-4d19-bdba-9250cea9983e" providerId="ADAL" clId="{98EB892F-946E-4A9A-9C41-6D7A8E17C0B3}" dt="2023-10-16T07:53:15.839" v="564" actId="1076"/>
          <ac:picMkLst>
            <pc:docMk/>
            <pc:sldMk cId="3400405768" sldId="2147479666"/>
            <ac:picMk id="18" creationId="{B01750E9-6FE6-DB4C-E397-FE53C3C5633D}"/>
          </ac:picMkLst>
        </pc:picChg>
        <pc:picChg chg="add mod">
          <ac:chgData name="Stuart Pearce" userId="6807ee30-3f1f-4d19-bdba-9250cea9983e" providerId="ADAL" clId="{98EB892F-946E-4A9A-9C41-6D7A8E17C0B3}" dt="2023-10-16T07:53:20.171" v="565" actId="1076"/>
          <ac:picMkLst>
            <pc:docMk/>
            <pc:sldMk cId="3400405768" sldId="2147479666"/>
            <ac:picMk id="19" creationId="{0F069DF5-5745-39C4-9ED6-C01298E45431}"/>
          </ac:picMkLst>
        </pc:picChg>
        <pc:picChg chg="mod">
          <ac:chgData name="Stuart Pearce" userId="6807ee30-3f1f-4d19-bdba-9250cea9983e" providerId="ADAL" clId="{98EB892F-946E-4A9A-9C41-6D7A8E17C0B3}" dt="2023-10-16T07:53:38.545" v="566"/>
          <ac:picMkLst>
            <pc:docMk/>
            <pc:sldMk cId="3400405768" sldId="2147479666"/>
            <ac:picMk id="21" creationId="{F9CA5B37-5989-D87A-0AE5-636BDE119501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4" creationId="{65B930D7-AB13-83BF-C8EE-13508862ECA6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5" creationId="{FD97181A-F988-5683-FE9C-8DEE8DE683D4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6" creationId="{02732560-0C4A-AD46-72CF-98B6054061B9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7" creationId="{F560F4CD-EC5E-4833-A725-8F3EA1961E6C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8" creationId="{5B09E749-E574-6A86-E9F7-AC7E21A82586}"/>
          </ac:picMkLst>
        </pc:picChg>
        <pc:picChg chg="add mod">
          <ac:chgData name="Stuart Pearce" userId="6807ee30-3f1f-4d19-bdba-9250cea9983e" providerId="ADAL" clId="{98EB892F-946E-4A9A-9C41-6D7A8E17C0B3}" dt="2023-10-16T08:02:12.763" v="896" actId="1035"/>
          <ac:picMkLst>
            <pc:docMk/>
            <pc:sldMk cId="3400405768" sldId="2147479666"/>
            <ac:picMk id="29" creationId="{FD31BFF5-024C-A5EE-3EB8-884DBB5C875F}"/>
          </ac:picMkLst>
        </pc:picChg>
      </pc:sldChg>
      <pc:sldChg chg="modSp mod">
        <pc:chgData name="Stuart Pearce" userId="6807ee30-3f1f-4d19-bdba-9250cea9983e" providerId="ADAL" clId="{98EB892F-946E-4A9A-9C41-6D7A8E17C0B3}" dt="2023-10-23T15:45:11.755" v="1047" actId="27636"/>
        <pc:sldMkLst>
          <pc:docMk/>
          <pc:sldMk cId="2905240756" sldId="2147479669"/>
        </pc:sldMkLst>
        <pc:spChg chg="mod">
          <ac:chgData name="Stuart Pearce" userId="6807ee30-3f1f-4d19-bdba-9250cea9983e" providerId="ADAL" clId="{98EB892F-946E-4A9A-9C41-6D7A8E17C0B3}" dt="2023-10-23T15:45:11.755" v="1047" actId="27636"/>
          <ac:spMkLst>
            <pc:docMk/>
            <pc:sldMk cId="2905240756" sldId="2147479669"/>
            <ac:spMk id="4" creationId="{AAB826BC-4056-BA67-DDC8-A3BB1B807892}"/>
          </ac:spMkLst>
        </pc:spChg>
      </pc:sldChg>
      <pc:sldChg chg="modSp mod">
        <pc:chgData name="Stuart Pearce" userId="6807ee30-3f1f-4d19-bdba-9250cea9983e" providerId="ADAL" clId="{98EB892F-946E-4A9A-9C41-6D7A8E17C0B3}" dt="2023-10-23T15:46:10.488" v="1048" actId="27636"/>
        <pc:sldMkLst>
          <pc:docMk/>
          <pc:sldMk cId="3035659572" sldId="2147479683"/>
        </pc:sldMkLst>
        <pc:spChg chg="mod">
          <ac:chgData name="Stuart Pearce" userId="6807ee30-3f1f-4d19-bdba-9250cea9983e" providerId="ADAL" clId="{98EB892F-946E-4A9A-9C41-6D7A8E17C0B3}" dt="2023-10-23T15:46:10.488" v="1048" actId="27636"/>
          <ac:spMkLst>
            <pc:docMk/>
            <pc:sldMk cId="3035659572" sldId="2147479683"/>
            <ac:spMk id="3" creationId="{809F2FFF-E023-E207-F968-0840E8ED0802}"/>
          </ac:spMkLst>
        </pc:spChg>
      </pc:sldChg>
    </pc:docChg>
  </pc:docChgLst>
  <pc:docChgLst>
    <pc:chgData name="Stuart Pearce" userId="6807ee30-3f1f-4d19-bdba-9250cea9983e" providerId="ADAL" clId="{F3BA9F42-91EC-4E09-BDB7-741E7576E133}"/>
    <pc:docChg chg="undo custSel addSld modSld sldOrd replTag">
      <pc:chgData name="Stuart Pearce" userId="6807ee30-3f1f-4d19-bdba-9250cea9983e" providerId="ADAL" clId="{F3BA9F42-91EC-4E09-BDB7-741E7576E133}" dt="2023-08-31T17:29:25.589" v="6758"/>
      <pc:docMkLst>
        <pc:docMk/>
      </pc:docMkLst>
      <pc:sldChg chg="addCm">
        <pc:chgData name="Stuart Pearce" userId="6807ee30-3f1f-4d19-bdba-9250cea9983e" providerId="ADAL" clId="{F3BA9F42-91EC-4E09-BDB7-741E7576E133}" dt="2023-08-18T10:29:57.465" v="1269"/>
        <pc:sldMkLst>
          <pc:docMk/>
          <pc:sldMk cId="82188278" sldId="29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0:29:57.465" v="1269"/>
              <pc2:cmMkLst xmlns:pc2="http://schemas.microsoft.com/office/powerpoint/2019/9/main/command">
                <pc:docMk/>
                <pc:sldMk cId="82188278" sldId="299"/>
                <pc2:cmMk id="{B9385B27-DF62-40C7-B3EE-16EDBC8EE1E8}"/>
              </pc2:cmMkLst>
            </pc226:cmChg>
          </p:ext>
        </pc:extLst>
      </pc:sldChg>
      <pc:sldChg chg="addSp delSp modSp mod addCm">
        <pc:chgData name="Stuart Pearce" userId="6807ee30-3f1f-4d19-bdba-9250cea9983e" providerId="ADAL" clId="{F3BA9F42-91EC-4E09-BDB7-741E7576E133}" dt="2023-08-18T10:37:38.388" v="1315" actId="20577"/>
        <pc:sldMkLst>
          <pc:docMk/>
          <pc:sldMk cId="1485362133" sldId="2147479563"/>
        </pc:sldMkLst>
        <pc:spChg chg="mod ord">
          <ac:chgData name="Stuart Pearce" userId="6807ee30-3f1f-4d19-bdba-9250cea9983e" providerId="ADAL" clId="{F3BA9F42-91EC-4E09-BDB7-741E7576E133}" dt="2023-08-16T10:12:08.794" v="281"/>
          <ac:spMkLst>
            <pc:docMk/>
            <pc:sldMk cId="1485362133" sldId="2147479563"/>
            <ac:spMk id="2" creationId="{A0A539C7-696A-7DF3-6837-C3696F000047}"/>
          </ac:spMkLst>
        </pc:spChg>
        <pc:spChg chg="mod ord">
          <ac:chgData name="Stuart Pearce" userId="6807ee30-3f1f-4d19-bdba-9250cea9983e" providerId="ADAL" clId="{F3BA9F42-91EC-4E09-BDB7-741E7576E133}" dt="2023-08-16T10:22:34.877" v="799" actId="20577"/>
          <ac:spMkLst>
            <pc:docMk/>
            <pc:sldMk cId="1485362133" sldId="2147479563"/>
            <ac:spMk id="3" creationId="{5ED6C8A5-FD0C-E265-84A2-47E65A1B8275}"/>
          </ac:spMkLst>
        </pc:spChg>
        <pc:spChg chg="mod ord">
          <ac:chgData name="Stuart Pearce" userId="6807ee30-3f1f-4d19-bdba-9250cea9983e" providerId="ADAL" clId="{F3BA9F42-91EC-4E09-BDB7-741E7576E133}" dt="2023-08-16T10:12:08.796" v="289"/>
          <ac:spMkLst>
            <pc:docMk/>
            <pc:sldMk cId="1485362133" sldId="2147479563"/>
            <ac:spMk id="4" creationId="{88200F8F-B90B-3AEF-EC9E-717DBEFBACD6}"/>
          </ac:spMkLst>
        </pc:spChg>
        <pc:spChg chg="add del mod modVis">
          <ac:chgData name="Stuart Pearce" userId="6807ee30-3f1f-4d19-bdba-9250cea9983e" providerId="ADAL" clId="{F3BA9F42-91EC-4E09-BDB7-741E7576E133}" dt="2023-08-16T10:12:08.811" v="307"/>
          <ac:spMkLst>
            <pc:docMk/>
            <pc:sldMk cId="1485362133" sldId="2147479563"/>
            <ac:spMk id="5" creationId="{6223D29A-7BB2-8F1F-4CB7-AE6D44B776B0}"/>
          </ac:spMkLst>
        </pc:spChg>
        <pc:spChg chg="mod ord">
          <ac:chgData name="Stuart Pearce" userId="6807ee30-3f1f-4d19-bdba-9250cea9983e" providerId="ADAL" clId="{F3BA9F42-91EC-4E09-BDB7-741E7576E133}" dt="2023-08-16T10:12:08.794" v="283"/>
          <ac:spMkLst>
            <pc:docMk/>
            <pc:sldMk cId="1485362133" sldId="2147479563"/>
            <ac:spMk id="7" creationId="{485FD7B2-FB92-815C-45F0-FCCA05431D19}"/>
          </ac:spMkLst>
        </pc:spChg>
        <pc:spChg chg="mod ord">
          <ac:chgData name="Stuart Pearce" userId="6807ee30-3f1f-4d19-bdba-9250cea9983e" providerId="ADAL" clId="{F3BA9F42-91EC-4E09-BDB7-741E7576E133}" dt="2023-08-16T10:12:08.795" v="285"/>
          <ac:spMkLst>
            <pc:docMk/>
            <pc:sldMk cId="1485362133" sldId="2147479563"/>
            <ac:spMk id="8" creationId="{6412EBE6-B8E1-E426-8024-4B16322734CD}"/>
          </ac:spMkLst>
        </pc:spChg>
        <pc:spChg chg="mod ord">
          <ac:chgData name="Stuart Pearce" userId="6807ee30-3f1f-4d19-bdba-9250cea9983e" providerId="ADAL" clId="{F3BA9F42-91EC-4E09-BDB7-741E7576E133}" dt="2023-08-16T10:21:13.638" v="660" actId="6549"/>
          <ac:spMkLst>
            <pc:docMk/>
            <pc:sldMk cId="1485362133" sldId="2147479563"/>
            <ac:spMk id="10" creationId="{1B7BBC78-63BD-CFE6-3ABA-CA188488139E}"/>
          </ac:spMkLst>
        </pc:spChg>
        <pc:spChg chg="mod ord">
          <ac:chgData name="Stuart Pearce" userId="6807ee30-3f1f-4d19-bdba-9250cea9983e" providerId="ADAL" clId="{F3BA9F42-91EC-4E09-BDB7-741E7576E133}" dt="2023-08-18T10:37:38.388" v="1315" actId="20577"/>
          <ac:spMkLst>
            <pc:docMk/>
            <pc:sldMk cId="1485362133" sldId="2147479563"/>
            <ac:spMk id="14" creationId="{574D6408-7C1E-0CC6-E2A9-97388C2DB56D}"/>
          </ac:spMkLst>
        </pc:spChg>
        <pc:spChg chg="mod ord">
          <ac:chgData name="Stuart Pearce" userId="6807ee30-3f1f-4d19-bdba-9250cea9983e" providerId="ADAL" clId="{F3BA9F42-91EC-4E09-BDB7-741E7576E133}" dt="2023-08-16T10:12:08.798" v="295"/>
          <ac:spMkLst>
            <pc:docMk/>
            <pc:sldMk cId="1485362133" sldId="2147479563"/>
            <ac:spMk id="15" creationId="{54865D96-9D9F-06F3-1364-95AA242308CC}"/>
          </ac:spMkLst>
        </pc:spChg>
        <pc:spChg chg="mod ord">
          <ac:chgData name="Stuart Pearce" userId="6807ee30-3f1f-4d19-bdba-9250cea9983e" providerId="ADAL" clId="{F3BA9F42-91EC-4E09-BDB7-741E7576E133}" dt="2023-08-16T10:12:08.792" v="279"/>
          <ac:spMkLst>
            <pc:docMk/>
            <pc:sldMk cId="1485362133" sldId="2147479563"/>
            <ac:spMk id="23" creationId="{4BE2803D-A464-E560-D07C-0B278C43A0AF}"/>
          </ac:spMkLst>
        </pc:spChg>
        <pc:spChg chg="mod ord">
          <ac:chgData name="Stuart Pearce" userId="6807ee30-3f1f-4d19-bdba-9250cea9983e" providerId="ADAL" clId="{F3BA9F42-91EC-4E09-BDB7-741E7576E133}" dt="2023-08-16T10:12:08.803" v="299"/>
          <ac:spMkLst>
            <pc:docMk/>
            <pc:sldMk cId="1485362133" sldId="2147479563"/>
            <ac:spMk id="30" creationId="{AF13E415-E5DD-55D0-7549-EFDA1DC5C989}"/>
          </ac:spMkLst>
        </pc:spChg>
        <pc:spChg chg="mod ord">
          <ac:chgData name="Stuart Pearce" userId="6807ee30-3f1f-4d19-bdba-9250cea9983e" providerId="ADAL" clId="{F3BA9F42-91EC-4E09-BDB7-741E7576E133}" dt="2023-08-16T10:12:08.803" v="301"/>
          <ac:spMkLst>
            <pc:docMk/>
            <pc:sldMk cId="1485362133" sldId="2147479563"/>
            <ac:spMk id="31" creationId="{EC77D846-A4CD-FA54-68F1-DA4717816C5F}"/>
          </ac:spMkLst>
        </pc:spChg>
        <pc:spChg chg="mod ord">
          <ac:chgData name="Stuart Pearce" userId="6807ee30-3f1f-4d19-bdba-9250cea9983e" providerId="ADAL" clId="{F3BA9F42-91EC-4E09-BDB7-741E7576E133}" dt="2023-08-16T10:12:08.804" v="303"/>
          <ac:spMkLst>
            <pc:docMk/>
            <pc:sldMk cId="1485362133" sldId="2147479563"/>
            <ac:spMk id="32" creationId="{9FF5CDFA-1489-0B41-139F-A4D645850C9A}"/>
          </ac:spMkLst>
        </pc:spChg>
        <pc:graphicFrameChg chg="mod">
          <ac:chgData name="Stuart Pearce" userId="6807ee30-3f1f-4d19-bdba-9250cea9983e" providerId="ADAL" clId="{F3BA9F42-91EC-4E09-BDB7-741E7576E133}" dt="2023-08-16T10:12:08.818" v="309"/>
          <ac:graphicFrameMkLst>
            <pc:docMk/>
            <pc:sldMk cId="1485362133" sldId="2147479563"/>
            <ac:graphicFrameMk id="6" creationId="{EDFA9C19-2135-724C-1613-9349AE517837}"/>
          </ac:graphicFrameMkLst>
        </pc:graphicFrameChg>
        <pc:picChg chg="mod ord">
          <ac:chgData name="Stuart Pearce" userId="6807ee30-3f1f-4d19-bdba-9250cea9983e" providerId="ADAL" clId="{F3BA9F42-91EC-4E09-BDB7-741E7576E133}" dt="2023-08-16T10:12:08.802" v="297"/>
          <ac:picMkLst>
            <pc:docMk/>
            <pc:sldMk cId="1485362133" sldId="2147479563"/>
            <ac:picMk id="26" creationId="{71FDA6AC-6776-5C5E-A5EC-C9D6F821F47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6T10:20:18.720" v="581"/>
              <pc2:cmMkLst xmlns:pc2="http://schemas.microsoft.com/office/powerpoint/2019/9/main/command">
                <pc:docMk/>
                <pc:sldMk cId="1485362133" sldId="2147479563"/>
                <pc2:cmMk id="{9B20414E-35FD-432A-897B-4268C0433655}"/>
              </pc2:cmMkLst>
            </pc226:cmChg>
          </p:ext>
        </pc:extLst>
      </pc:sldChg>
      <pc:sldChg chg="modSp mod">
        <pc:chgData name="Stuart Pearce" userId="6807ee30-3f1f-4d19-bdba-9250cea9983e" providerId="ADAL" clId="{F3BA9F42-91EC-4E09-BDB7-741E7576E133}" dt="2023-08-16T09:55:50.309" v="3" actId="20577"/>
        <pc:sldMkLst>
          <pc:docMk/>
          <pc:sldMk cId="2490285491" sldId="2147479576"/>
        </pc:sldMkLst>
        <pc:spChg chg="mod">
          <ac:chgData name="Stuart Pearce" userId="6807ee30-3f1f-4d19-bdba-9250cea9983e" providerId="ADAL" clId="{F3BA9F42-91EC-4E09-BDB7-741E7576E133}" dt="2023-08-16T09:55:50.309" v="3" actId="20577"/>
          <ac:spMkLst>
            <pc:docMk/>
            <pc:sldMk cId="2490285491" sldId="2147479576"/>
            <ac:spMk id="7" creationId="{59AD4632-3848-23AF-9AC4-D2773C2BAC61}"/>
          </ac:spMkLst>
        </pc:spChg>
      </pc:sldChg>
      <pc:sldChg chg="modSp mod">
        <pc:chgData name="Stuart Pearce" userId="6807ee30-3f1f-4d19-bdba-9250cea9983e" providerId="ADAL" clId="{F3BA9F42-91EC-4E09-BDB7-741E7576E133}" dt="2023-08-16T10:07:01.036" v="4" actId="1076"/>
        <pc:sldMkLst>
          <pc:docMk/>
          <pc:sldMk cId="3643749381" sldId="2147479592"/>
        </pc:sldMkLst>
        <pc:spChg chg="mod">
          <ac:chgData name="Stuart Pearce" userId="6807ee30-3f1f-4d19-bdba-9250cea9983e" providerId="ADAL" clId="{F3BA9F42-91EC-4E09-BDB7-741E7576E133}" dt="2023-08-16T10:07:01.036" v="4" actId="1076"/>
          <ac:spMkLst>
            <pc:docMk/>
            <pc:sldMk cId="3643749381" sldId="2147479592"/>
            <ac:spMk id="9" creationId="{15AFB74D-6528-254D-2822-F7A3E272156F}"/>
          </ac:spMkLst>
        </pc:spChg>
      </pc:sldChg>
      <pc:sldChg chg="addSp delSp modSp mod addCm">
        <pc:chgData name="Stuart Pearce" userId="6807ee30-3f1f-4d19-bdba-9250cea9983e" providerId="ADAL" clId="{F3BA9F42-91EC-4E09-BDB7-741E7576E133}" dt="2023-08-16T11:10:52.433" v="1264" actId="1076"/>
        <pc:sldMkLst>
          <pc:docMk/>
          <pc:sldMk cId="3666502735" sldId="2147479595"/>
        </pc:sldMkLst>
        <pc:spChg chg="mod">
          <ac:chgData name="Stuart Pearce" userId="6807ee30-3f1f-4d19-bdba-9250cea9983e" providerId="ADAL" clId="{F3BA9F42-91EC-4E09-BDB7-741E7576E133}" dt="2023-08-16T11:05:04.723" v="1175" actId="20577"/>
          <ac:spMkLst>
            <pc:docMk/>
            <pc:sldMk cId="3666502735" sldId="2147479595"/>
            <ac:spMk id="15" creationId="{951EC86C-7AA9-9BA2-B9B6-01D23C423992}"/>
          </ac:spMkLst>
        </pc:spChg>
        <pc:picChg chg="del">
          <ac:chgData name="Stuart Pearce" userId="6807ee30-3f1f-4d19-bdba-9250cea9983e" providerId="ADAL" clId="{F3BA9F42-91EC-4E09-BDB7-741E7576E133}" dt="2023-08-16T11:00:03.874" v="1162" actId="478"/>
          <ac:picMkLst>
            <pc:docMk/>
            <pc:sldMk cId="3666502735" sldId="2147479595"/>
            <ac:picMk id="6" creationId="{286999AA-D283-0D9B-3A40-673D9AA5FACF}"/>
          </ac:picMkLst>
        </pc:picChg>
        <pc:picChg chg="del">
          <ac:chgData name="Stuart Pearce" userId="6807ee30-3f1f-4d19-bdba-9250cea9983e" providerId="ADAL" clId="{F3BA9F42-91EC-4E09-BDB7-741E7576E133}" dt="2023-08-16T11:10:49.202" v="1263" actId="478"/>
          <ac:picMkLst>
            <pc:docMk/>
            <pc:sldMk cId="3666502735" sldId="2147479595"/>
            <ac:picMk id="16" creationId="{AC54C802-48C3-3276-DB59-3B6D79767C53}"/>
          </ac:picMkLst>
        </pc:picChg>
        <pc:picChg chg="mod">
          <ac:chgData name="Stuart Pearce" userId="6807ee30-3f1f-4d19-bdba-9250cea9983e" providerId="ADAL" clId="{F3BA9F42-91EC-4E09-BDB7-741E7576E133}" dt="2023-08-16T10:59:54.544" v="1158" actId="1076"/>
          <ac:picMkLst>
            <pc:docMk/>
            <pc:sldMk cId="3666502735" sldId="2147479595"/>
            <ac:picMk id="17" creationId="{1623E039-B0FB-A147-A79A-D5E97AD71ADB}"/>
          </ac:picMkLst>
        </pc:picChg>
        <pc:picChg chg="del mod">
          <ac:chgData name="Stuart Pearce" userId="6807ee30-3f1f-4d19-bdba-9250cea9983e" providerId="ADAL" clId="{F3BA9F42-91EC-4E09-BDB7-741E7576E133}" dt="2023-08-16T11:10:27.931" v="1260" actId="478"/>
          <ac:picMkLst>
            <pc:docMk/>
            <pc:sldMk cId="3666502735" sldId="2147479595"/>
            <ac:picMk id="18" creationId="{89AABC2E-497D-E69C-74C3-0EFB620B315E}"/>
          </ac:picMkLst>
        </pc:picChg>
        <pc:picChg chg="mod">
          <ac:chgData name="Stuart Pearce" userId="6807ee30-3f1f-4d19-bdba-9250cea9983e" providerId="ADAL" clId="{F3BA9F42-91EC-4E09-BDB7-741E7576E133}" dt="2023-08-16T10:59:32.418" v="1156" actId="1076"/>
          <ac:picMkLst>
            <pc:docMk/>
            <pc:sldMk cId="3666502735" sldId="2147479595"/>
            <ac:picMk id="23" creationId="{A753E1A8-D362-DFE0-DD44-BF480C984C5A}"/>
          </ac:picMkLst>
        </pc:picChg>
        <pc:picChg chg="mod">
          <ac:chgData name="Stuart Pearce" userId="6807ee30-3f1f-4d19-bdba-9250cea9983e" providerId="ADAL" clId="{F3BA9F42-91EC-4E09-BDB7-741E7576E133}" dt="2023-08-16T10:59:30.302" v="1155" actId="1076"/>
          <ac:picMkLst>
            <pc:docMk/>
            <pc:sldMk cId="3666502735" sldId="2147479595"/>
            <ac:picMk id="24" creationId="{5CA929E3-0A67-1218-C3F4-8BC24984F6D9}"/>
          </ac:picMkLst>
        </pc:picChg>
        <pc:picChg chg="mod">
          <ac:chgData name="Stuart Pearce" userId="6807ee30-3f1f-4d19-bdba-9250cea9983e" providerId="ADAL" clId="{F3BA9F42-91EC-4E09-BDB7-741E7576E133}" dt="2023-08-16T10:58:52.929" v="1149" actId="1076"/>
          <ac:picMkLst>
            <pc:docMk/>
            <pc:sldMk cId="3666502735" sldId="2147479595"/>
            <ac:picMk id="25" creationId="{E1DC44AD-9F74-2B0D-A10D-2239668A5D5D}"/>
          </ac:picMkLst>
        </pc:picChg>
        <pc:picChg chg="mod">
          <ac:chgData name="Stuart Pearce" userId="6807ee30-3f1f-4d19-bdba-9250cea9983e" providerId="ADAL" clId="{F3BA9F42-91EC-4E09-BDB7-741E7576E133}" dt="2023-08-16T10:58:49.658" v="1148" actId="1076"/>
          <ac:picMkLst>
            <pc:docMk/>
            <pc:sldMk cId="3666502735" sldId="2147479595"/>
            <ac:picMk id="26" creationId="{347B276D-C92B-982A-C0B0-B0E99D336FFF}"/>
          </ac:picMkLst>
        </pc:picChg>
        <pc:picChg chg="del">
          <ac:chgData name="Stuart Pearce" userId="6807ee30-3f1f-4d19-bdba-9250cea9983e" providerId="ADAL" clId="{F3BA9F42-91EC-4E09-BDB7-741E7576E133}" dt="2023-08-16T10:59:07.467" v="1152" actId="478"/>
          <ac:picMkLst>
            <pc:docMk/>
            <pc:sldMk cId="3666502735" sldId="2147479595"/>
            <ac:picMk id="29" creationId="{D9919384-0C61-7526-BBBB-518FF2233B60}"/>
          </ac:picMkLst>
        </pc:picChg>
        <pc:picChg chg="del">
          <ac:chgData name="Stuart Pearce" userId="6807ee30-3f1f-4d19-bdba-9250cea9983e" providerId="ADAL" clId="{F3BA9F42-91EC-4E09-BDB7-741E7576E133}" dt="2023-08-16T11:05:15.643" v="1178" actId="478"/>
          <ac:picMkLst>
            <pc:docMk/>
            <pc:sldMk cId="3666502735" sldId="2147479595"/>
            <ac:picMk id="31" creationId="{731C59D7-277B-9546-5539-3EE0E06D913B}"/>
          </ac:picMkLst>
        </pc:picChg>
        <pc:picChg chg="del">
          <ac:chgData name="Stuart Pearce" userId="6807ee30-3f1f-4d19-bdba-9250cea9983e" providerId="ADAL" clId="{F3BA9F42-91EC-4E09-BDB7-741E7576E133}" dt="2023-08-16T11:05:26.552" v="1182" actId="478"/>
          <ac:picMkLst>
            <pc:docMk/>
            <pc:sldMk cId="3666502735" sldId="2147479595"/>
            <ac:picMk id="33" creationId="{8AC814CD-D95A-562F-7DDC-B48D6997D2B8}"/>
          </ac:picMkLst>
        </pc:picChg>
        <pc:picChg chg="add mod">
          <ac:chgData name="Stuart Pearce" userId="6807ee30-3f1f-4d19-bdba-9250cea9983e" providerId="ADAL" clId="{F3BA9F42-91EC-4E09-BDB7-741E7576E133}" dt="2023-08-16T10:59:10.474" v="1153" actId="1076"/>
          <ac:picMkLst>
            <pc:docMk/>
            <pc:sldMk cId="3666502735" sldId="2147479595"/>
            <ac:picMk id="35" creationId="{0E19F3FA-D9BC-1963-1D72-03A1F6528983}"/>
          </ac:picMkLst>
        </pc:picChg>
        <pc:picChg chg="add mod">
          <ac:chgData name="Stuart Pearce" userId="6807ee30-3f1f-4d19-bdba-9250cea9983e" providerId="ADAL" clId="{F3BA9F42-91EC-4E09-BDB7-741E7576E133}" dt="2023-08-16T11:00:06.179" v="1163" actId="1076"/>
          <ac:picMkLst>
            <pc:docMk/>
            <pc:sldMk cId="3666502735" sldId="2147479595"/>
            <ac:picMk id="36" creationId="{2C3BF42C-8896-C868-29F1-B9EAC83FBA5B}"/>
          </ac:picMkLst>
        </pc:picChg>
        <pc:picChg chg="add mod">
          <ac:chgData name="Stuart Pearce" userId="6807ee30-3f1f-4d19-bdba-9250cea9983e" providerId="ADAL" clId="{F3BA9F42-91EC-4E09-BDB7-741E7576E133}" dt="2023-08-16T11:05:18.260" v="1179" actId="1076"/>
          <ac:picMkLst>
            <pc:docMk/>
            <pc:sldMk cId="3666502735" sldId="2147479595"/>
            <ac:picMk id="37" creationId="{F44303B6-5CB8-805D-6498-DBE44870C408}"/>
          </ac:picMkLst>
        </pc:picChg>
        <pc:picChg chg="add mod">
          <ac:chgData name="Stuart Pearce" userId="6807ee30-3f1f-4d19-bdba-9250cea9983e" providerId="ADAL" clId="{F3BA9F42-91EC-4E09-BDB7-741E7576E133}" dt="2023-08-16T11:05:29.189" v="1183" actId="1076"/>
          <ac:picMkLst>
            <pc:docMk/>
            <pc:sldMk cId="3666502735" sldId="2147479595"/>
            <ac:picMk id="38" creationId="{E79200F9-CB54-E881-564E-A04AF9641E04}"/>
          </ac:picMkLst>
        </pc:picChg>
        <pc:picChg chg="add mod">
          <ac:chgData name="Stuart Pearce" userId="6807ee30-3f1f-4d19-bdba-9250cea9983e" providerId="ADAL" clId="{F3BA9F42-91EC-4E09-BDB7-741E7576E133}" dt="2023-08-16T11:10:31.105" v="1261" actId="1076"/>
          <ac:picMkLst>
            <pc:docMk/>
            <pc:sldMk cId="3666502735" sldId="2147479595"/>
            <ac:picMk id="39" creationId="{9F3AFC28-0825-8AF9-1D19-A978670A64D3}"/>
          </ac:picMkLst>
        </pc:picChg>
        <pc:picChg chg="add mod">
          <ac:chgData name="Stuart Pearce" userId="6807ee30-3f1f-4d19-bdba-9250cea9983e" providerId="ADAL" clId="{F3BA9F42-91EC-4E09-BDB7-741E7576E133}" dt="2023-08-16T11:10:52.433" v="1264" actId="1076"/>
          <ac:picMkLst>
            <pc:docMk/>
            <pc:sldMk cId="3666502735" sldId="2147479595"/>
            <ac:picMk id="40" creationId="{60E906C4-461B-EE45-4186-5F2D87E3E0BA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6T11:07:15.812" v="1185"/>
              <pc2:cmMkLst xmlns:pc2="http://schemas.microsoft.com/office/powerpoint/2019/9/main/command">
                <pc:docMk/>
                <pc:sldMk cId="3666502735" sldId="2147479595"/>
                <pc2:cmMk id="{B69A02DE-62D7-4111-BB28-6E0B873D18AE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6T11:06:10.501" v="1184"/>
              <pc2:cmMkLst xmlns:pc2="http://schemas.microsoft.com/office/powerpoint/2019/9/main/command">
                <pc:docMk/>
                <pc:sldMk cId="3666502735" sldId="2147479595"/>
                <pc2:cmMk id="{AE339DF8-B823-4CA6-8880-0C433F687889}"/>
              </pc2:cmMkLst>
            </pc226:cmChg>
          </p:ext>
        </pc:extLst>
      </pc:sldChg>
      <pc:sldChg chg="addCm">
        <pc:chgData name="Stuart Pearce" userId="6807ee30-3f1f-4d19-bdba-9250cea9983e" providerId="ADAL" clId="{F3BA9F42-91EC-4E09-BDB7-741E7576E133}" dt="2023-08-16T11:13:03.895" v="1265"/>
        <pc:sldMkLst>
          <pc:docMk/>
          <pc:sldMk cId="891120514" sldId="214747959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6T11:13:03.895" v="1265"/>
              <pc2:cmMkLst xmlns:pc2="http://schemas.microsoft.com/office/powerpoint/2019/9/main/command">
                <pc:docMk/>
                <pc:sldMk cId="891120514" sldId="2147479596"/>
                <pc2:cmMk id="{430FB158-A3A7-4CCB-8B6F-3ABD4C1E685C}"/>
              </pc2:cmMkLst>
            </pc226:cmChg>
          </p:ext>
        </pc:extLst>
      </pc:sldChg>
      <pc:sldChg chg="modSp mod addCm">
        <pc:chgData name="Stuart Pearce" userId="6807ee30-3f1f-4d19-bdba-9250cea9983e" providerId="ADAL" clId="{F3BA9F42-91EC-4E09-BDB7-741E7576E133}" dt="2023-08-16T10:50:27.833" v="1146"/>
        <pc:sldMkLst>
          <pc:docMk/>
          <pc:sldMk cId="30169280" sldId="2147479597"/>
        </pc:sldMkLst>
        <pc:spChg chg="mod">
          <ac:chgData name="Stuart Pearce" userId="6807ee30-3f1f-4d19-bdba-9250cea9983e" providerId="ADAL" clId="{F3BA9F42-91EC-4E09-BDB7-741E7576E133}" dt="2023-08-16T10:49:24.802" v="1145" actId="20577"/>
          <ac:spMkLst>
            <pc:docMk/>
            <pc:sldMk cId="30169280" sldId="2147479597"/>
            <ac:spMk id="4" creationId="{5A14AA1A-EFBF-C2D8-C3F0-8C48878C878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6T10:50:27.833" v="1146"/>
              <pc2:cmMkLst xmlns:pc2="http://schemas.microsoft.com/office/powerpoint/2019/9/main/command">
                <pc:docMk/>
                <pc:sldMk cId="30169280" sldId="2147479597"/>
                <pc2:cmMk id="{A607C5B6-20B0-4630-872A-E800107A9E86}"/>
              </pc2:cmMkLst>
            </pc226:cmChg>
          </p:ext>
        </pc:extLst>
      </pc:sldChg>
      <pc:sldChg chg="addSp modSp mod">
        <pc:chgData name="Stuart Pearce" userId="6807ee30-3f1f-4d19-bdba-9250cea9983e" providerId="ADAL" clId="{F3BA9F42-91EC-4E09-BDB7-741E7576E133}" dt="2023-08-16T11:18:18.172" v="1268" actId="1076"/>
        <pc:sldMkLst>
          <pc:docMk/>
          <pc:sldMk cId="1878468969" sldId="2147479599"/>
        </pc:sldMkLst>
        <pc:picChg chg="add mod">
          <ac:chgData name="Stuart Pearce" userId="6807ee30-3f1f-4d19-bdba-9250cea9983e" providerId="ADAL" clId="{F3BA9F42-91EC-4E09-BDB7-741E7576E133}" dt="2023-08-16T11:18:18.172" v="1268" actId="1076"/>
          <ac:picMkLst>
            <pc:docMk/>
            <pc:sldMk cId="1878468969" sldId="2147479599"/>
            <ac:picMk id="3" creationId="{10E9141C-0E41-D1A9-22DC-5704F2981A3D}"/>
          </ac:picMkLst>
        </pc:picChg>
      </pc:sldChg>
      <pc:sldChg chg="modSp mod">
        <pc:chgData name="Stuart Pearce" userId="6807ee30-3f1f-4d19-bdba-9250cea9983e" providerId="ADAL" clId="{F3BA9F42-91EC-4E09-BDB7-741E7576E133}" dt="2023-08-16T11:10:16.373" v="1258" actId="20577"/>
        <pc:sldMkLst>
          <pc:docMk/>
          <pc:sldMk cId="1297789210" sldId="2147479603"/>
        </pc:sldMkLst>
        <pc:graphicFrameChg chg="modGraphic">
          <ac:chgData name="Stuart Pearce" userId="6807ee30-3f1f-4d19-bdba-9250cea9983e" providerId="ADAL" clId="{F3BA9F42-91EC-4E09-BDB7-741E7576E133}" dt="2023-08-16T11:10:16.373" v="1258" actId="20577"/>
          <ac:graphicFrameMkLst>
            <pc:docMk/>
            <pc:sldMk cId="1297789210" sldId="2147479603"/>
            <ac:graphicFrameMk id="959" creationId="{BCE895D5-EC9E-711B-4487-D1B7BBFD8420}"/>
          </ac:graphicFrameMkLst>
        </pc:graphicFrameChg>
      </pc:sldChg>
      <pc:sldChg chg="modSp mod addCm modCm">
        <pc:chgData name="Stuart Pearce" userId="6807ee30-3f1f-4d19-bdba-9250cea9983e" providerId="ADAL" clId="{F3BA9F42-91EC-4E09-BDB7-741E7576E133}" dt="2023-08-18T14:27:31.788" v="2185" actId="2056"/>
        <pc:sldMkLst>
          <pc:docMk/>
          <pc:sldMk cId="3738489707" sldId="2147479613"/>
        </pc:sldMkLst>
        <pc:spChg chg="mod">
          <ac:chgData name="Stuart Pearce" userId="6807ee30-3f1f-4d19-bdba-9250cea9983e" providerId="ADAL" clId="{F3BA9F42-91EC-4E09-BDB7-741E7576E133}" dt="2023-08-18T10:52:05.795" v="1354" actId="6549"/>
          <ac:spMkLst>
            <pc:docMk/>
            <pc:sldMk cId="3738489707" sldId="2147479613"/>
            <ac:spMk id="17" creationId="{71F8C894-D21B-3A4E-F93F-443CEFC06E38}"/>
          </ac:spMkLst>
        </pc:spChg>
        <pc:spChg chg="mod">
          <ac:chgData name="Stuart Pearce" userId="6807ee30-3f1f-4d19-bdba-9250cea9983e" providerId="ADAL" clId="{F3BA9F42-91EC-4E09-BDB7-741E7576E133}" dt="2023-08-18T10:51:54.931" v="1344" actId="6549"/>
          <ac:spMkLst>
            <pc:docMk/>
            <pc:sldMk cId="3738489707" sldId="2147479613"/>
            <ac:spMk id="19" creationId="{9B382363-4A5C-1FC7-5BCD-CA6467F70619}"/>
          </ac:spMkLst>
        </pc:spChg>
        <pc:graphicFrameChg chg="mod">
          <ac:chgData name="Stuart Pearce" userId="6807ee30-3f1f-4d19-bdba-9250cea9983e" providerId="ADAL" clId="{F3BA9F42-91EC-4E09-BDB7-741E7576E133}" dt="2023-08-18T10:47:43.823" v="1324" actId="1036"/>
          <ac:graphicFrameMkLst>
            <pc:docMk/>
            <pc:sldMk cId="3738489707" sldId="2147479613"/>
            <ac:graphicFrameMk id="26" creationId="{57934A5A-5C35-66CB-D60C-9B97A7A1AC7B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18T14:27:31.788" v="2185" actId="2056"/>
              <pc2:cmMkLst xmlns:pc2="http://schemas.microsoft.com/office/powerpoint/2019/9/main/command">
                <pc:docMk/>
                <pc:sldMk cId="3738489707" sldId="2147479613"/>
                <pc2:cmMk id="{D203354D-FE45-419C-A25F-DF0A7071012E}"/>
              </pc2:cmMkLst>
            </pc226:cmChg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18T14:27:31.788" v="2185" actId="2056"/>
              <pc2:cmMkLst xmlns:pc2="http://schemas.microsoft.com/office/powerpoint/2019/9/main/command">
                <pc:docMk/>
                <pc:sldMk cId="3738489707" sldId="2147479613"/>
                <pc2:cmMk id="{1137B859-1000-4753-8CA3-EFE205928037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0:53:55.325" v="1355"/>
              <pc2:cmMkLst xmlns:pc2="http://schemas.microsoft.com/office/powerpoint/2019/9/main/command">
                <pc:docMk/>
                <pc:sldMk cId="3738489707" sldId="2147479613"/>
                <pc2:cmMk id="{D36DE3F3-DEF0-478F-9002-FFCC98CFCEB3}"/>
              </pc2:cmMkLst>
            </pc226:cmChg>
          </p:ext>
        </pc:extLst>
      </pc:sldChg>
      <pc:sldChg chg="modSp mod addCm modCm">
        <pc:chgData name="Stuart Pearce" userId="6807ee30-3f1f-4d19-bdba-9250cea9983e" providerId="ADAL" clId="{F3BA9F42-91EC-4E09-BDB7-741E7576E133}" dt="2023-08-22T16:17:13.297" v="4505" actId="20577"/>
        <pc:sldMkLst>
          <pc:docMk/>
          <pc:sldMk cId="1269469517" sldId="2147479614"/>
        </pc:sldMkLst>
        <pc:spChg chg="mod">
          <ac:chgData name="Stuart Pearce" userId="6807ee30-3f1f-4d19-bdba-9250cea9983e" providerId="ADAL" clId="{F3BA9F42-91EC-4E09-BDB7-741E7576E133}" dt="2023-08-22T16:09:48.806" v="4348" actId="1076"/>
          <ac:spMkLst>
            <pc:docMk/>
            <pc:sldMk cId="1269469517" sldId="2147479614"/>
            <ac:spMk id="28" creationId="{BAE22AFC-2EE1-C157-5B70-DA2F1F1A0915}"/>
          </ac:spMkLst>
        </pc:spChg>
        <pc:graphicFrameChg chg="mod">
          <ac:chgData name="Stuart Pearce" userId="6807ee30-3f1f-4d19-bdba-9250cea9983e" providerId="ADAL" clId="{F3BA9F42-91EC-4E09-BDB7-741E7576E133}" dt="2023-08-22T16:17:13.297" v="4505" actId="20577"/>
          <ac:graphicFrameMkLst>
            <pc:docMk/>
            <pc:sldMk cId="1269469517" sldId="2147479614"/>
            <ac:graphicFrameMk id="4" creationId="{98C3C474-6302-226C-ED97-94625F41E4E9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18T14:44:49.406" v="2186" actId="2056"/>
              <pc2:cmMkLst xmlns:pc2="http://schemas.microsoft.com/office/powerpoint/2019/9/main/command">
                <pc:docMk/>
                <pc:sldMk cId="1269469517" sldId="2147479614"/>
                <pc2:cmMk id="{A65B6E89-9BC8-40DA-9E74-5C38C24CC3FC}"/>
              </pc2:cmMkLst>
            </pc226:cmChg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18T14:44:49.406" v="2186" actId="2056"/>
              <pc2:cmMkLst xmlns:pc2="http://schemas.microsoft.com/office/powerpoint/2019/9/main/command">
                <pc:docMk/>
                <pc:sldMk cId="1269469517" sldId="2147479614"/>
                <pc2:cmMk id="{DFBF4FC9-5532-4393-86AE-4C85AD35F75F}"/>
              </pc2:cmMkLst>
            </pc226:cmChg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18T14:44:49.406" v="2186" actId="2056"/>
              <pc2:cmMkLst xmlns:pc2="http://schemas.microsoft.com/office/powerpoint/2019/9/main/command">
                <pc:docMk/>
                <pc:sldMk cId="1269469517" sldId="2147479614"/>
                <pc2:cmMk id="{278E52E1-017B-4029-BA78-9FEDB4C39859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1:02:45.455" v="1359"/>
              <pc2:cmMkLst xmlns:pc2="http://schemas.microsoft.com/office/powerpoint/2019/9/main/command">
                <pc:docMk/>
                <pc:sldMk cId="1269469517" sldId="2147479614"/>
                <pc2:cmMk id="{D3A18CE9-3D80-4305-86E5-5C46BB04FC4B}"/>
              </pc2:cmMkLst>
            </pc226:cmChg>
          </p:ext>
        </pc:extLst>
      </pc:sldChg>
      <pc:sldChg chg="modSp mod addCm modCm">
        <pc:chgData name="Stuart Pearce" userId="6807ee30-3f1f-4d19-bdba-9250cea9983e" providerId="ADAL" clId="{F3BA9F42-91EC-4E09-BDB7-741E7576E133}" dt="2023-08-31T17:29:25.589" v="6758"/>
        <pc:sldMkLst>
          <pc:docMk/>
          <pc:sldMk cId="167908758" sldId="2147479615"/>
        </pc:sldMkLst>
        <pc:spChg chg="mod">
          <ac:chgData name="Stuart Pearce" userId="6807ee30-3f1f-4d19-bdba-9250cea9983e" providerId="ADAL" clId="{F3BA9F42-91EC-4E09-BDB7-741E7576E133}" dt="2023-08-22T16:35:30.305" v="5055" actId="20577"/>
          <ac:spMkLst>
            <pc:docMk/>
            <pc:sldMk cId="167908758" sldId="2147479615"/>
            <ac:spMk id="5" creationId="{5DE90930-45C1-B154-D597-A8DB15E52342}"/>
          </ac:spMkLst>
        </pc:spChg>
        <pc:spChg chg="mod">
          <ac:chgData name="Stuart Pearce" userId="6807ee30-3f1f-4d19-bdba-9250cea9983e" providerId="ADAL" clId="{F3BA9F42-91EC-4E09-BDB7-741E7576E133}" dt="2023-08-22T16:30:01.474" v="4763" actId="20577"/>
          <ac:spMkLst>
            <pc:docMk/>
            <pc:sldMk cId="167908758" sldId="2147479615"/>
            <ac:spMk id="10" creationId="{37755D1F-9054-2AD7-2F26-3D07AF6FA6DA}"/>
          </ac:spMkLst>
        </pc:spChg>
        <pc:spChg chg="mod">
          <ac:chgData name="Stuart Pearce" userId="6807ee30-3f1f-4d19-bdba-9250cea9983e" providerId="ADAL" clId="{F3BA9F42-91EC-4E09-BDB7-741E7576E133}" dt="2023-08-22T16:20:11.668" v="4629" actId="20577"/>
          <ac:spMkLst>
            <pc:docMk/>
            <pc:sldMk cId="167908758" sldId="2147479615"/>
            <ac:spMk id="13" creationId="{F729862B-0EAE-6B28-5788-E6FC975E853E}"/>
          </ac:spMkLst>
        </pc:spChg>
        <pc:spChg chg="mod">
          <ac:chgData name="Stuart Pearce" userId="6807ee30-3f1f-4d19-bdba-9250cea9983e" providerId="ADAL" clId="{F3BA9F42-91EC-4E09-BDB7-741E7576E133}" dt="2023-08-22T16:31:11.237" v="4780" actId="20577"/>
          <ac:spMkLst>
            <pc:docMk/>
            <pc:sldMk cId="167908758" sldId="2147479615"/>
            <ac:spMk id="18" creationId="{2DCBCB12-5658-9CEE-DAFB-F41A31CE3BC4}"/>
          </ac:spMkLst>
        </pc:spChg>
        <pc:spChg chg="mod">
          <ac:chgData name="Stuart Pearce" userId="6807ee30-3f1f-4d19-bdba-9250cea9983e" providerId="ADAL" clId="{F3BA9F42-91EC-4E09-BDB7-741E7576E133}" dt="2023-08-22T16:31:55.246" v="4781" actId="1076"/>
          <ac:spMkLst>
            <pc:docMk/>
            <pc:sldMk cId="167908758" sldId="2147479615"/>
            <ac:spMk id="23" creationId="{F9F30D9E-2625-9974-A360-71C45DB4973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Stuart Pearce" userId="6807ee30-3f1f-4d19-bdba-9250cea9983e" providerId="ADAL" clId="{F3BA9F42-91EC-4E09-BDB7-741E7576E133}" dt="2023-08-22T16:31:11.237" v="4780" actId="20577"/>
              <pc2:cmMkLst xmlns:pc2="http://schemas.microsoft.com/office/powerpoint/2019/9/main/command">
                <pc:docMk/>
                <pc:sldMk cId="167908758" sldId="2147479615"/>
                <pc2:cmMk id="{EDCA4803-4B26-41B0-9F40-D17989930E75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31T17:29:25.589" v="6758"/>
              <pc2:cmMkLst xmlns:pc2="http://schemas.microsoft.com/office/powerpoint/2019/9/main/command">
                <pc:docMk/>
                <pc:sldMk cId="167908758" sldId="2147479615"/>
                <pc2:cmMk id="{612E3519-88F2-496B-BDDB-45E32A4FD2A7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31T17:17:53.302" v="6755"/>
              <pc2:cmMkLst xmlns:pc2="http://schemas.microsoft.com/office/powerpoint/2019/9/main/command">
                <pc:docMk/>
                <pc:sldMk cId="167908758" sldId="2147479615"/>
                <pc2:cmMk id="{60C68727-B20C-451D-9AA6-0211F53258B6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31T17:27:12.426" v="6757"/>
              <pc2:cmMkLst xmlns:pc2="http://schemas.microsoft.com/office/powerpoint/2019/9/main/command">
                <pc:docMk/>
                <pc:sldMk cId="167908758" sldId="2147479615"/>
                <pc2:cmMk id="{4F90E373-CDD4-4024-B01E-511D42D89BB7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1:13:00.854" v="1567"/>
              <pc2:cmMkLst xmlns:pc2="http://schemas.microsoft.com/office/powerpoint/2019/9/main/command">
                <pc:docMk/>
                <pc:sldMk cId="167908758" sldId="2147479615"/>
                <pc2:cmMk id="{00533AC0-C661-43C2-87EE-382BC877D2BE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31T17:20:39.676" v="6756"/>
              <pc2:cmMkLst xmlns:pc2="http://schemas.microsoft.com/office/powerpoint/2019/9/main/command">
                <pc:docMk/>
                <pc:sldMk cId="167908758" sldId="2147479615"/>
                <pc2:cmMk id="{09D8C3EA-300A-4A0B-8930-CFE511EC61CE}"/>
              </pc2:cmMkLst>
            </pc226:cmChg>
          </p:ext>
        </pc:extLst>
      </pc:sldChg>
      <pc:sldChg chg="modSp mod addCm">
        <pc:chgData name="Stuart Pearce" userId="6807ee30-3f1f-4d19-bdba-9250cea9983e" providerId="ADAL" clId="{F3BA9F42-91EC-4E09-BDB7-741E7576E133}" dt="2023-08-18T11:31:25.351" v="2184"/>
        <pc:sldMkLst>
          <pc:docMk/>
          <pc:sldMk cId="1098155061" sldId="2147479616"/>
        </pc:sldMkLst>
        <pc:spChg chg="mod">
          <ac:chgData name="Stuart Pearce" userId="6807ee30-3f1f-4d19-bdba-9250cea9983e" providerId="ADAL" clId="{F3BA9F42-91EC-4E09-BDB7-741E7576E133}" dt="2023-08-18T11:29:06.706" v="2071" actId="6549"/>
          <ac:spMkLst>
            <pc:docMk/>
            <pc:sldMk cId="1098155061" sldId="2147479616"/>
            <ac:spMk id="3" creationId="{5ED6C8A5-FD0C-E265-84A2-47E65A1B8275}"/>
          </ac:spMkLst>
        </pc:spChg>
        <pc:spChg chg="mod">
          <ac:chgData name="Stuart Pearce" userId="6807ee30-3f1f-4d19-bdba-9250cea9983e" providerId="ADAL" clId="{F3BA9F42-91EC-4E09-BDB7-741E7576E133}" dt="2023-08-18T11:25:32.548" v="1859" actId="20577"/>
          <ac:spMkLst>
            <pc:docMk/>
            <pc:sldMk cId="1098155061" sldId="2147479616"/>
            <ac:spMk id="15" creationId="{1B3B647A-55A4-F415-39AD-FF3A993370A0}"/>
          </ac:spMkLst>
        </pc:spChg>
        <pc:spChg chg="mod">
          <ac:chgData name="Stuart Pearce" userId="6807ee30-3f1f-4d19-bdba-9250cea9983e" providerId="ADAL" clId="{F3BA9F42-91EC-4E09-BDB7-741E7576E133}" dt="2023-08-18T11:19:36.677" v="1694" actId="6549"/>
          <ac:spMkLst>
            <pc:docMk/>
            <pc:sldMk cId="1098155061" sldId="2147479616"/>
            <ac:spMk id="16" creationId="{35E08D05-7AD8-F49F-BAC2-1310A91050AE}"/>
          </ac:spMkLst>
        </pc:spChg>
        <pc:spChg chg="mod">
          <ac:chgData name="Stuart Pearce" userId="6807ee30-3f1f-4d19-bdba-9250cea9983e" providerId="ADAL" clId="{F3BA9F42-91EC-4E09-BDB7-741E7576E133}" dt="2023-08-18T11:30:40.434" v="2183" actId="20577"/>
          <ac:spMkLst>
            <pc:docMk/>
            <pc:sldMk cId="1098155061" sldId="2147479616"/>
            <ac:spMk id="22" creationId="{6B103AA0-AEC2-6421-4F2A-45341979275A}"/>
          </ac:spMkLst>
        </pc:spChg>
        <pc:spChg chg="mod">
          <ac:chgData name="Stuart Pearce" userId="6807ee30-3f1f-4d19-bdba-9250cea9983e" providerId="ADAL" clId="{F3BA9F42-91EC-4E09-BDB7-741E7576E133}" dt="2023-08-18T11:26:41.515" v="1933" actId="6549"/>
          <ac:spMkLst>
            <pc:docMk/>
            <pc:sldMk cId="1098155061" sldId="2147479616"/>
            <ac:spMk id="23" creationId="{5B9AC56B-9744-E608-A840-7437A9352C95}"/>
          </ac:spMkLst>
        </pc:spChg>
        <pc:spChg chg="mod">
          <ac:chgData name="Stuart Pearce" userId="6807ee30-3f1f-4d19-bdba-9250cea9983e" providerId="ADAL" clId="{F3BA9F42-91EC-4E09-BDB7-741E7576E133}" dt="2023-08-18T11:20:55.570" v="1772" actId="20577"/>
          <ac:spMkLst>
            <pc:docMk/>
            <pc:sldMk cId="1098155061" sldId="2147479616"/>
            <ac:spMk id="24" creationId="{D26FDA03-C165-AE13-328B-1E2C148FA5F1}"/>
          </ac:spMkLst>
        </pc:spChg>
        <pc:spChg chg="mod">
          <ac:chgData name="Stuart Pearce" userId="6807ee30-3f1f-4d19-bdba-9250cea9983e" providerId="ADAL" clId="{F3BA9F42-91EC-4E09-BDB7-741E7576E133}" dt="2023-08-18T11:30:20.780" v="2178" actId="14100"/>
          <ac:spMkLst>
            <pc:docMk/>
            <pc:sldMk cId="1098155061" sldId="2147479616"/>
            <ac:spMk id="38" creationId="{16CF8192-B5CC-4760-C31C-78CEE6DAC50C}"/>
          </ac:spMkLst>
        </pc:spChg>
        <pc:spChg chg="mod">
          <ac:chgData name="Stuart Pearce" userId="6807ee30-3f1f-4d19-bdba-9250cea9983e" providerId="ADAL" clId="{F3BA9F42-91EC-4E09-BDB7-741E7576E133}" dt="2023-08-18T11:27:01.267" v="1954" actId="20577"/>
          <ac:spMkLst>
            <pc:docMk/>
            <pc:sldMk cId="1098155061" sldId="2147479616"/>
            <ac:spMk id="39" creationId="{BD000EAB-4B70-8E6B-6021-3063DB206089}"/>
          </ac:spMkLst>
        </pc:spChg>
        <pc:spChg chg="mod">
          <ac:chgData name="Stuart Pearce" userId="6807ee30-3f1f-4d19-bdba-9250cea9983e" providerId="ADAL" clId="{F3BA9F42-91EC-4E09-BDB7-741E7576E133}" dt="2023-08-18T11:21:39.793" v="1810" actId="20577"/>
          <ac:spMkLst>
            <pc:docMk/>
            <pc:sldMk cId="1098155061" sldId="2147479616"/>
            <ac:spMk id="40" creationId="{381BA8DC-9F5F-88B7-147C-E091F649CB5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1:23:36.761" v="1811"/>
              <pc2:cmMkLst xmlns:pc2="http://schemas.microsoft.com/office/powerpoint/2019/9/main/command">
                <pc:docMk/>
                <pc:sldMk cId="1098155061" sldId="2147479616"/>
                <pc2:cmMk id="{C7FEBC20-AF18-4197-BE90-4D3A943F06FC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1:31:25.351" v="2184"/>
              <pc2:cmMkLst xmlns:pc2="http://schemas.microsoft.com/office/powerpoint/2019/9/main/command">
                <pc:docMk/>
                <pc:sldMk cId="1098155061" sldId="2147479616"/>
                <pc2:cmMk id="{A3234E86-AF69-4A0C-9130-F895A9D1CA01}"/>
              </pc2:cmMkLst>
            </pc226:cmChg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18T11:15:19.001" v="1568"/>
              <pc2:cmMkLst xmlns:pc2="http://schemas.microsoft.com/office/powerpoint/2019/9/main/command">
                <pc:docMk/>
                <pc:sldMk cId="1098155061" sldId="2147479616"/>
                <pc2:cmMk id="{D9B98AE8-C940-4F04-8AD7-E94F2F2C6DAA}"/>
              </pc2:cmMkLst>
            </pc226:cmChg>
          </p:ext>
        </pc:extLst>
      </pc:sldChg>
      <pc:sldChg chg="modSp mod">
        <pc:chgData name="Stuart Pearce" userId="6807ee30-3f1f-4d19-bdba-9250cea9983e" providerId="ADAL" clId="{F3BA9F42-91EC-4E09-BDB7-741E7576E133}" dt="2023-08-22T16:39:57.017" v="5214" actId="1076"/>
        <pc:sldMkLst>
          <pc:docMk/>
          <pc:sldMk cId="4200287211" sldId="2147479617"/>
        </pc:sldMkLst>
        <pc:spChg chg="mod">
          <ac:chgData name="Stuart Pearce" userId="6807ee30-3f1f-4d19-bdba-9250cea9983e" providerId="ADAL" clId="{F3BA9F42-91EC-4E09-BDB7-741E7576E133}" dt="2023-08-22T16:39:57.017" v="5214" actId="1076"/>
          <ac:spMkLst>
            <pc:docMk/>
            <pc:sldMk cId="4200287211" sldId="2147479617"/>
            <ac:spMk id="4" creationId="{409783D2-8828-F131-1292-93610D057CD6}"/>
          </ac:spMkLst>
        </pc:spChg>
        <pc:spChg chg="mod">
          <ac:chgData name="Stuart Pearce" userId="6807ee30-3f1f-4d19-bdba-9250cea9983e" providerId="ADAL" clId="{F3BA9F42-91EC-4E09-BDB7-741E7576E133}" dt="2023-08-22T16:39:50.448" v="5213" actId="6549"/>
          <ac:spMkLst>
            <pc:docMk/>
            <pc:sldMk cId="4200287211" sldId="2147479617"/>
            <ac:spMk id="16" creationId="{2B03A529-FF51-7B79-AA2B-14E0CF91E31F}"/>
          </ac:spMkLst>
        </pc:spChg>
        <pc:spChg chg="mod">
          <ac:chgData name="Stuart Pearce" userId="6807ee30-3f1f-4d19-bdba-9250cea9983e" providerId="ADAL" clId="{F3BA9F42-91EC-4E09-BDB7-741E7576E133}" dt="2023-08-21T15:25:30.093" v="3092" actId="20577"/>
          <ac:spMkLst>
            <pc:docMk/>
            <pc:sldMk cId="4200287211" sldId="2147479617"/>
            <ac:spMk id="17" creationId="{24B445AE-E61C-C5FE-4C10-E2EBD52ACEB1}"/>
          </ac:spMkLst>
        </pc:spChg>
      </pc:sldChg>
      <pc:sldChg chg="addSp delSp modSp mod addCm">
        <pc:chgData name="Stuart Pearce" userId="6807ee30-3f1f-4d19-bdba-9250cea9983e" providerId="ADAL" clId="{F3BA9F42-91EC-4E09-BDB7-741E7576E133}" dt="2023-08-22T16:42:20.482" v="5431" actId="20577"/>
        <pc:sldMkLst>
          <pc:docMk/>
          <pc:sldMk cId="2883633952" sldId="2147479619"/>
        </pc:sldMkLst>
        <pc:spChg chg="mod">
          <ac:chgData name="Stuart Pearce" userId="6807ee30-3f1f-4d19-bdba-9250cea9983e" providerId="ADAL" clId="{F3BA9F42-91EC-4E09-BDB7-741E7576E133}" dt="2023-08-22T16:41:07.780" v="5384" actId="948"/>
          <ac:spMkLst>
            <pc:docMk/>
            <pc:sldMk cId="2883633952" sldId="2147479619"/>
            <ac:spMk id="2" creationId="{A0A539C7-696A-7DF3-6837-C3696F000047}"/>
          </ac:spMkLst>
        </pc:spChg>
        <pc:spChg chg="mod">
          <ac:chgData name="Stuart Pearce" userId="6807ee30-3f1f-4d19-bdba-9250cea9983e" providerId="ADAL" clId="{F3BA9F42-91EC-4E09-BDB7-741E7576E133}" dt="2023-08-21T15:42:04.022" v="3752" actId="20577"/>
          <ac:spMkLst>
            <pc:docMk/>
            <pc:sldMk cId="2883633952" sldId="2147479619"/>
            <ac:spMk id="3" creationId="{5ED6C8A5-FD0C-E265-84A2-47E65A1B8275}"/>
          </ac:spMkLst>
        </pc:spChg>
        <pc:spChg chg="mod">
          <ac:chgData name="Stuart Pearce" userId="6807ee30-3f1f-4d19-bdba-9250cea9983e" providerId="ADAL" clId="{F3BA9F42-91EC-4E09-BDB7-741E7576E133}" dt="2023-08-21T15:41:03.252" v="3670" actId="6549"/>
          <ac:spMkLst>
            <pc:docMk/>
            <pc:sldMk cId="2883633952" sldId="2147479619"/>
            <ac:spMk id="4" creationId="{88200F8F-B90B-3AEF-EC9E-717DBEFBACD6}"/>
          </ac:spMkLst>
        </pc:spChg>
        <pc:spChg chg="add del mod modVis">
          <ac:chgData name="Stuart Pearce" userId="6807ee30-3f1f-4d19-bdba-9250cea9983e" providerId="ADAL" clId="{F3BA9F42-91EC-4E09-BDB7-741E7576E133}" dt="2023-08-22T16:40:54.799" v="5272"/>
          <ac:spMkLst>
            <pc:docMk/>
            <pc:sldMk cId="2883633952" sldId="2147479619"/>
            <ac:spMk id="5" creationId="{7E525338-650A-30D5-354D-8F023FB7A2B2}"/>
          </ac:spMkLst>
        </pc:spChg>
        <pc:spChg chg="mod">
          <ac:chgData name="Stuart Pearce" userId="6807ee30-3f1f-4d19-bdba-9250cea9983e" providerId="ADAL" clId="{F3BA9F42-91EC-4E09-BDB7-741E7576E133}" dt="2023-08-21T15:45:03.624" v="3915" actId="14100"/>
          <ac:spMkLst>
            <pc:docMk/>
            <pc:sldMk cId="2883633952" sldId="2147479619"/>
            <ac:spMk id="7" creationId="{485FD7B2-FB92-815C-45F0-FCCA05431D19}"/>
          </ac:spMkLst>
        </pc:spChg>
        <pc:spChg chg="del mod">
          <ac:chgData name="Stuart Pearce" userId="6807ee30-3f1f-4d19-bdba-9250cea9983e" providerId="ADAL" clId="{F3BA9F42-91EC-4E09-BDB7-741E7576E133}" dt="2023-08-21T15:44:58.787" v="3913" actId="478"/>
          <ac:spMkLst>
            <pc:docMk/>
            <pc:sldMk cId="2883633952" sldId="2147479619"/>
            <ac:spMk id="8" creationId="{6412EBE6-B8E1-E426-8024-4B16322734CD}"/>
          </ac:spMkLst>
        </pc:spChg>
        <pc:spChg chg="add del mod modVis">
          <ac:chgData name="Stuart Pearce" userId="6807ee30-3f1f-4d19-bdba-9250cea9983e" providerId="ADAL" clId="{F3BA9F42-91EC-4E09-BDB7-741E7576E133}" dt="2023-08-22T16:41:06.122" v="5332"/>
          <ac:spMkLst>
            <pc:docMk/>
            <pc:sldMk cId="2883633952" sldId="2147479619"/>
            <ac:spMk id="8" creationId="{B3322316-C910-B198-7854-4C38EC39408A}"/>
          </ac:spMkLst>
        </pc:spChg>
        <pc:spChg chg="add del mod modVis">
          <ac:chgData name="Stuart Pearce" userId="6807ee30-3f1f-4d19-bdba-9250cea9983e" providerId="ADAL" clId="{F3BA9F42-91EC-4E09-BDB7-741E7576E133}" dt="2023-08-22T16:41:07.083" v="5380"/>
          <ac:spMkLst>
            <pc:docMk/>
            <pc:sldMk cId="2883633952" sldId="2147479619"/>
            <ac:spMk id="9" creationId="{D277F092-5B54-1746-AA24-6326D7C1A22E}"/>
          </ac:spMkLst>
        </pc:spChg>
        <pc:spChg chg="add del mod modVis">
          <ac:chgData name="Stuart Pearce" userId="6807ee30-3f1f-4d19-bdba-9250cea9983e" providerId="ADAL" clId="{F3BA9F42-91EC-4E09-BDB7-741E7576E133}" dt="2023-08-22T16:41:07.837" v="5425"/>
          <ac:spMkLst>
            <pc:docMk/>
            <pc:sldMk cId="2883633952" sldId="2147479619"/>
            <ac:spMk id="10" creationId="{302E44B2-301E-EF56-D35E-CBB3571B67D4}"/>
          </ac:spMkLst>
        </pc:spChg>
        <pc:spChg chg="mod">
          <ac:chgData name="Stuart Pearce" userId="6807ee30-3f1f-4d19-bdba-9250cea9983e" providerId="ADAL" clId="{F3BA9F42-91EC-4E09-BDB7-741E7576E133}" dt="2023-08-21T15:50:00.275" v="4323" actId="20577"/>
          <ac:spMkLst>
            <pc:docMk/>
            <pc:sldMk cId="2883633952" sldId="2147479619"/>
            <ac:spMk id="15" creationId="{1B3B647A-55A4-F415-39AD-FF3A993370A0}"/>
          </ac:spMkLst>
        </pc:spChg>
        <pc:spChg chg="mod">
          <ac:chgData name="Stuart Pearce" userId="6807ee30-3f1f-4d19-bdba-9250cea9983e" providerId="ADAL" clId="{F3BA9F42-91EC-4E09-BDB7-741E7576E133}" dt="2023-08-21T15:37:15.702" v="3498" actId="20577"/>
          <ac:spMkLst>
            <pc:docMk/>
            <pc:sldMk cId="2883633952" sldId="2147479619"/>
            <ac:spMk id="16" creationId="{35E08D05-7AD8-F49F-BAC2-1310A91050AE}"/>
          </ac:spMkLst>
        </pc:spChg>
        <pc:spChg chg="mod">
          <ac:chgData name="Stuart Pearce" userId="6807ee30-3f1f-4d19-bdba-9250cea9983e" providerId="ADAL" clId="{F3BA9F42-91EC-4E09-BDB7-741E7576E133}" dt="2023-08-21T15:42:15.804" v="3773" actId="1036"/>
          <ac:spMkLst>
            <pc:docMk/>
            <pc:sldMk cId="2883633952" sldId="2147479619"/>
            <ac:spMk id="22" creationId="{6B103AA0-AEC2-6421-4F2A-45341979275A}"/>
          </ac:spMkLst>
        </pc:spChg>
        <pc:spChg chg="del mod">
          <ac:chgData name="Stuart Pearce" userId="6807ee30-3f1f-4d19-bdba-9250cea9983e" providerId="ADAL" clId="{F3BA9F42-91EC-4E09-BDB7-741E7576E133}" dt="2023-08-21T15:49:23.771" v="4282" actId="478"/>
          <ac:spMkLst>
            <pc:docMk/>
            <pc:sldMk cId="2883633952" sldId="2147479619"/>
            <ac:spMk id="23" creationId="{5B9AC56B-9744-E608-A840-7437A9352C95}"/>
          </ac:spMkLst>
        </pc:spChg>
        <pc:spChg chg="mod">
          <ac:chgData name="Stuart Pearce" userId="6807ee30-3f1f-4d19-bdba-9250cea9983e" providerId="ADAL" clId="{F3BA9F42-91EC-4E09-BDB7-741E7576E133}" dt="2023-08-21T15:49:30.774" v="4292" actId="20577"/>
          <ac:spMkLst>
            <pc:docMk/>
            <pc:sldMk cId="2883633952" sldId="2147479619"/>
            <ac:spMk id="24" creationId="{D26FDA03-C165-AE13-328B-1E2C148FA5F1}"/>
          </ac:spMkLst>
        </pc:spChg>
        <pc:spChg chg="mod">
          <ac:chgData name="Stuart Pearce" userId="6807ee30-3f1f-4d19-bdba-9250cea9983e" providerId="ADAL" clId="{F3BA9F42-91EC-4E09-BDB7-741E7576E133}" dt="2023-08-21T15:45:25.062" v="3942" actId="1036"/>
          <ac:spMkLst>
            <pc:docMk/>
            <pc:sldMk cId="2883633952" sldId="2147479619"/>
            <ac:spMk id="25" creationId="{E643EA8A-E312-5430-4907-8F5417826CF0}"/>
          </ac:spMkLst>
        </pc:spChg>
        <pc:spChg chg="del">
          <ac:chgData name="Stuart Pearce" userId="6807ee30-3f1f-4d19-bdba-9250cea9983e" providerId="ADAL" clId="{F3BA9F42-91EC-4E09-BDB7-741E7576E133}" dt="2023-08-21T15:44:59.852" v="3914" actId="478"/>
          <ac:spMkLst>
            <pc:docMk/>
            <pc:sldMk cId="2883633952" sldId="2147479619"/>
            <ac:spMk id="31" creationId="{EC77D846-A4CD-FA54-68F1-DA4717816C5F}"/>
          </ac:spMkLst>
        </pc:spChg>
        <pc:spChg chg="mod">
          <ac:chgData name="Stuart Pearce" userId="6807ee30-3f1f-4d19-bdba-9250cea9983e" providerId="ADAL" clId="{F3BA9F42-91EC-4E09-BDB7-741E7576E133}" dt="2023-08-22T16:42:20.482" v="5431" actId="20577"/>
          <ac:spMkLst>
            <pc:docMk/>
            <pc:sldMk cId="2883633952" sldId="2147479619"/>
            <ac:spMk id="32" creationId="{9FF5CDFA-1489-0B41-139F-A4D645850C9A}"/>
          </ac:spMkLst>
        </pc:spChg>
        <pc:spChg chg="mod">
          <ac:chgData name="Stuart Pearce" userId="6807ee30-3f1f-4d19-bdba-9250cea9983e" providerId="ADAL" clId="{F3BA9F42-91EC-4E09-BDB7-741E7576E133}" dt="2023-08-21T15:46:38.694" v="4201" actId="1036"/>
          <ac:spMkLst>
            <pc:docMk/>
            <pc:sldMk cId="2883633952" sldId="2147479619"/>
            <ac:spMk id="33" creationId="{E658D722-ABEA-8D09-888F-D256ABB137C2}"/>
          </ac:spMkLst>
        </pc:spChg>
        <pc:spChg chg="mod">
          <ac:chgData name="Stuart Pearce" userId="6807ee30-3f1f-4d19-bdba-9250cea9983e" providerId="ADAL" clId="{F3BA9F42-91EC-4E09-BDB7-741E7576E133}" dt="2023-08-21T15:44:05.013" v="3896" actId="20577"/>
          <ac:spMkLst>
            <pc:docMk/>
            <pc:sldMk cId="2883633952" sldId="2147479619"/>
            <ac:spMk id="34" creationId="{C44BA00D-08B2-5BCA-970F-DC875BF215D7}"/>
          </ac:spMkLst>
        </pc:spChg>
        <pc:spChg chg="mod">
          <ac:chgData name="Stuart Pearce" userId="6807ee30-3f1f-4d19-bdba-9250cea9983e" providerId="ADAL" clId="{F3BA9F42-91EC-4E09-BDB7-741E7576E133}" dt="2023-08-21T15:44:18.205" v="3900" actId="20577"/>
          <ac:spMkLst>
            <pc:docMk/>
            <pc:sldMk cId="2883633952" sldId="2147479619"/>
            <ac:spMk id="35" creationId="{1A425966-2479-DB50-9259-398C6C9514D0}"/>
          </ac:spMkLst>
        </pc:spChg>
        <pc:spChg chg="mod">
          <ac:chgData name="Stuart Pearce" userId="6807ee30-3f1f-4d19-bdba-9250cea9983e" providerId="ADAL" clId="{F3BA9F42-91EC-4E09-BDB7-741E7576E133}" dt="2023-08-21T15:36:14.895" v="3420" actId="1036"/>
          <ac:spMkLst>
            <pc:docMk/>
            <pc:sldMk cId="2883633952" sldId="2147479619"/>
            <ac:spMk id="36" creationId="{23E78714-5ED8-8D3C-8FD3-971C6DDEEF58}"/>
          </ac:spMkLst>
        </pc:spChg>
        <pc:spChg chg="mod">
          <ac:chgData name="Stuart Pearce" userId="6807ee30-3f1f-4d19-bdba-9250cea9983e" providerId="ADAL" clId="{F3BA9F42-91EC-4E09-BDB7-741E7576E133}" dt="2023-08-22T16:40:35.336" v="5215" actId="1076"/>
          <ac:spMkLst>
            <pc:docMk/>
            <pc:sldMk cId="2883633952" sldId="2147479619"/>
            <ac:spMk id="37" creationId="{71F58665-5E3F-2EAA-A81C-94236DCF7ADA}"/>
          </ac:spMkLst>
        </pc:spChg>
        <pc:spChg chg="mod">
          <ac:chgData name="Stuart Pearce" userId="6807ee30-3f1f-4d19-bdba-9250cea9983e" providerId="ADAL" clId="{F3BA9F42-91EC-4E09-BDB7-741E7576E133}" dt="2023-08-21T15:46:43.773" v="4226" actId="1035"/>
          <ac:spMkLst>
            <pc:docMk/>
            <pc:sldMk cId="2883633952" sldId="2147479619"/>
            <ac:spMk id="38" creationId="{16CF8192-B5CC-4760-C31C-78CEE6DAC50C}"/>
          </ac:spMkLst>
        </pc:spChg>
        <pc:spChg chg="mod">
          <ac:chgData name="Stuart Pearce" userId="6807ee30-3f1f-4d19-bdba-9250cea9983e" providerId="ADAL" clId="{F3BA9F42-91EC-4E09-BDB7-741E7576E133}" dt="2023-08-21T15:46:11.077" v="4084" actId="1035"/>
          <ac:spMkLst>
            <pc:docMk/>
            <pc:sldMk cId="2883633952" sldId="2147479619"/>
            <ac:spMk id="39" creationId="{BD000EAB-4B70-8E6B-6021-3063DB206089}"/>
          </ac:spMkLst>
        </pc:spChg>
        <pc:spChg chg="mod">
          <ac:chgData name="Stuart Pearce" userId="6807ee30-3f1f-4d19-bdba-9250cea9983e" providerId="ADAL" clId="{F3BA9F42-91EC-4E09-BDB7-741E7576E133}" dt="2023-08-21T15:46:17.099" v="4102" actId="1035"/>
          <ac:spMkLst>
            <pc:docMk/>
            <pc:sldMk cId="2883633952" sldId="2147479619"/>
            <ac:spMk id="40" creationId="{381BA8DC-9F5F-88B7-147C-E091F649CB55}"/>
          </ac:spMkLst>
        </pc:spChg>
        <pc:spChg chg="mod">
          <ac:chgData name="Stuart Pearce" userId="6807ee30-3f1f-4d19-bdba-9250cea9983e" providerId="ADAL" clId="{F3BA9F42-91EC-4E09-BDB7-741E7576E133}" dt="2023-08-21T15:36:14.895" v="3420" actId="1036"/>
          <ac:spMkLst>
            <pc:docMk/>
            <pc:sldMk cId="2883633952" sldId="2147479619"/>
            <ac:spMk id="41" creationId="{9E4EFC0B-2651-52C2-3640-37107D97D928}"/>
          </ac:spMkLst>
        </pc:spChg>
        <pc:graphicFrameChg chg="mod">
          <ac:chgData name="Stuart Pearce" userId="6807ee30-3f1f-4d19-bdba-9250cea9983e" providerId="ADAL" clId="{F3BA9F42-91EC-4E09-BDB7-741E7576E133}" dt="2023-08-22T16:41:07.839" v="5427"/>
          <ac:graphicFrameMkLst>
            <pc:docMk/>
            <pc:sldMk cId="2883633952" sldId="2147479619"/>
            <ac:graphicFrameMk id="6" creationId="{EDFA9C19-2135-724C-1613-9349AE51783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22T16:42:01.112" v="5428"/>
              <pc2:cmMkLst xmlns:pc2="http://schemas.microsoft.com/office/powerpoint/2019/9/main/command">
                <pc:docMk/>
                <pc:sldMk cId="2883633952" sldId="2147479619"/>
                <pc2:cmMk id="{93DBD83A-C89D-4B89-8D1C-9D67C4B9C55A}"/>
              </pc2:cmMkLst>
            </pc226:cmChg>
          </p:ext>
        </pc:extLst>
      </pc:sldChg>
      <pc:sldChg chg="modSp mod">
        <pc:chgData name="Stuart Pearce" userId="6807ee30-3f1f-4d19-bdba-9250cea9983e" providerId="ADAL" clId="{F3BA9F42-91EC-4E09-BDB7-741E7576E133}" dt="2023-08-22T17:03:01.369" v="6222" actId="313"/>
        <pc:sldMkLst>
          <pc:docMk/>
          <pc:sldMk cId="922357935" sldId="2147479620"/>
        </pc:sldMkLst>
        <pc:spChg chg="mod">
          <ac:chgData name="Stuart Pearce" userId="6807ee30-3f1f-4d19-bdba-9250cea9983e" providerId="ADAL" clId="{F3BA9F42-91EC-4E09-BDB7-741E7576E133}" dt="2023-08-22T16:57:33.653" v="5862" actId="1076"/>
          <ac:spMkLst>
            <pc:docMk/>
            <pc:sldMk cId="922357935" sldId="2147479620"/>
            <ac:spMk id="8" creationId="{E978A631-0162-4393-8CBA-541122F72686}"/>
          </ac:spMkLst>
        </pc:spChg>
        <pc:spChg chg="mod">
          <ac:chgData name="Stuart Pearce" userId="6807ee30-3f1f-4d19-bdba-9250cea9983e" providerId="ADAL" clId="{F3BA9F42-91EC-4E09-BDB7-741E7576E133}" dt="2023-08-22T16:56:52.382" v="5855" actId="20577"/>
          <ac:spMkLst>
            <pc:docMk/>
            <pc:sldMk cId="922357935" sldId="2147479620"/>
            <ac:spMk id="16" creationId="{2B03A529-FF51-7B79-AA2B-14E0CF91E31F}"/>
          </ac:spMkLst>
        </pc:spChg>
        <pc:spChg chg="mod">
          <ac:chgData name="Stuart Pearce" userId="6807ee30-3f1f-4d19-bdba-9250cea9983e" providerId="ADAL" clId="{F3BA9F42-91EC-4E09-BDB7-741E7576E133}" dt="2023-08-22T17:03:01.369" v="6222" actId="313"/>
          <ac:spMkLst>
            <pc:docMk/>
            <pc:sldMk cId="922357935" sldId="2147479620"/>
            <ac:spMk id="17" creationId="{24B445AE-E61C-C5FE-4C10-E2EBD52ACEB1}"/>
          </ac:spMkLst>
        </pc:spChg>
      </pc:sldChg>
      <pc:sldChg chg="modSp mod addCm">
        <pc:chgData name="Stuart Pearce" userId="6807ee30-3f1f-4d19-bdba-9250cea9983e" providerId="ADAL" clId="{F3BA9F42-91EC-4E09-BDB7-741E7576E133}" dt="2023-08-22T17:19:36.098" v="6754"/>
        <pc:sldMkLst>
          <pc:docMk/>
          <pc:sldMk cId="1507409585" sldId="2147479621"/>
        </pc:sldMkLst>
        <pc:spChg chg="mod">
          <ac:chgData name="Stuart Pearce" userId="6807ee30-3f1f-4d19-bdba-9250cea9983e" providerId="ADAL" clId="{F3BA9F42-91EC-4E09-BDB7-741E7576E133}" dt="2023-08-22T17:14:15.265" v="6641" actId="20577"/>
          <ac:spMkLst>
            <pc:docMk/>
            <pc:sldMk cId="1507409585" sldId="2147479621"/>
            <ac:spMk id="3" creationId="{5ED6C8A5-FD0C-E265-84A2-47E65A1B8275}"/>
          </ac:spMkLst>
        </pc:spChg>
        <pc:spChg chg="mod">
          <ac:chgData name="Stuart Pearce" userId="6807ee30-3f1f-4d19-bdba-9250cea9983e" providerId="ADAL" clId="{F3BA9F42-91EC-4E09-BDB7-741E7576E133}" dt="2023-08-22T17:09:53.954" v="6462" actId="20577"/>
          <ac:spMkLst>
            <pc:docMk/>
            <pc:sldMk cId="1507409585" sldId="2147479621"/>
            <ac:spMk id="15" creationId="{1B3B647A-55A4-F415-39AD-FF3A993370A0}"/>
          </ac:spMkLst>
        </pc:spChg>
        <pc:spChg chg="mod">
          <ac:chgData name="Stuart Pearce" userId="6807ee30-3f1f-4d19-bdba-9250cea9983e" providerId="ADAL" clId="{F3BA9F42-91EC-4E09-BDB7-741E7576E133}" dt="2023-08-22T17:06:26.983" v="6326" actId="6549"/>
          <ac:spMkLst>
            <pc:docMk/>
            <pc:sldMk cId="1507409585" sldId="2147479621"/>
            <ac:spMk id="16" creationId="{35E08D05-7AD8-F49F-BAC2-1310A91050AE}"/>
          </ac:spMkLst>
        </pc:spChg>
        <pc:spChg chg="mod">
          <ac:chgData name="Stuart Pearce" userId="6807ee30-3f1f-4d19-bdba-9250cea9983e" providerId="ADAL" clId="{F3BA9F42-91EC-4E09-BDB7-741E7576E133}" dt="2023-08-22T17:15:02.807" v="6707" actId="6549"/>
          <ac:spMkLst>
            <pc:docMk/>
            <pc:sldMk cId="1507409585" sldId="2147479621"/>
            <ac:spMk id="22" creationId="{6B103AA0-AEC2-6421-4F2A-45341979275A}"/>
          </ac:spMkLst>
        </pc:spChg>
        <pc:spChg chg="mod">
          <ac:chgData name="Stuart Pearce" userId="6807ee30-3f1f-4d19-bdba-9250cea9983e" providerId="ADAL" clId="{F3BA9F42-91EC-4E09-BDB7-741E7576E133}" dt="2023-08-22T17:11:19.698" v="6507" actId="6549"/>
          <ac:spMkLst>
            <pc:docMk/>
            <pc:sldMk cId="1507409585" sldId="2147479621"/>
            <ac:spMk id="23" creationId="{5B9AC56B-9744-E608-A840-7437A9352C95}"/>
          </ac:spMkLst>
        </pc:spChg>
        <pc:spChg chg="mod">
          <ac:chgData name="Stuart Pearce" userId="6807ee30-3f1f-4d19-bdba-9250cea9983e" providerId="ADAL" clId="{F3BA9F42-91EC-4E09-BDB7-741E7576E133}" dt="2023-08-22T17:07:45.230" v="6371" actId="6549"/>
          <ac:spMkLst>
            <pc:docMk/>
            <pc:sldMk cId="1507409585" sldId="2147479621"/>
            <ac:spMk id="24" creationId="{D26FDA03-C165-AE13-328B-1E2C148FA5F1}"/>
          </ac:spMkLst>
        </pc:spChg>
        <pc:spChg chg="mod">
          <ac:chgData name="Stuart Pearce" userId="6807ee30-3f1f-4d19-bdba-9250cea9983e" providerId="ADAL" clId="{F3BA9F42-91EC-4E09-BDB7-741E7576E133}" dt="2023-08-22T17:15:26.897" v="6753" actId="20577"/>
          <ac:spMkLst>
            <pc:docMk/>
            <pc:sldMk cId="1507409585" sldId="2147479621"/>
            <ac:spMk id="33" creationId="{E658D722-ABEA-8D09-888F-D256ABB137C2}"/>
          </ac:spMkLst>
        </pc:spChg>
        <pc:spChg chg="mod">
          <ac:chgData name="Stuart Pearce" userId="6807ee30-3f1f-4d19-bdba-9250cea9983e" providerId="ADAL" clId="{F3BA9F42-91EC-4E09-BDB7-741E7576E133}" dt="2023-08-22T17:10:45.536" v="6464" actId="20577"/>
          <ac:spMkLst>
            <pc:docMk/>
            <pc:sldMk cId="1507409585" sldId="2147479621"/>
            <ac:spMk id="34" creationId="{C44BA00D-08B2-5BCA-970F-DC875BF215D7}"/>
          </ac:spMkLst>
        </pc:spChg>
        <pc:spChg chg="mod">
          <ac:chgData name="Stuart Pearce" userId="6807ee30-3f1f-4d19-bdba-9250cea9983e" providerId="ADAL" clId="{F3BA9F42-91EC-4E09-BDB7-741E7576E133}" dt="2023-08-22T17:07:58.400" v="6373" actId="20577"/>
          <ac:spMkLst>
            <pc:docMk/>
            <pc:sldMk cId="1507409585" sldId="2147479621"/>
            <ac:spMk id="35" creationId="{1A425966-2479-DB50-9259-398C6C9514D0}"/>
          </ac:spMkLst>
        </pc:spChg>
        <pc:spChg chg="mod">
          <ac:chgData name="Stuart Pearce" userId="6807ee30-3f1f-4d19-bdba-9250cea9983e" providerId="ADAL" clId="{F3BA9F42-91EC-4E09-BDB7-741E7576E133}" dt="2023-08-22T17:15:22.199" v="6751" actId="20577"/>
          <ac:spMkLst>
            <pc:docMk/>
            <pc:sldMk cId="1507409585" sldId="2147479621"/>
            <ac:spMk id="38" creationId="{16CF8192-B5CC-4760-C31C-78CEE6DAC50C}"/>
          </ac:spMkLst>
        </pc:spChg>
        <pc:spChg chg="mod">
          <ac:chgData name="Stuart Pearce" userId="6807ee30-3f1f-4d19-bdba-9250cea9983e" providerId="ADAL" clId="{F3BA9F42-91EC-4E09-BDB7-741E7576E133}" dt="2023-08-22T17:11:39.595" v="6527" actId="20577"/>
          <ac:spMkLst>
            <pc:docMk/>
            <pc:sldMk cId="1507409585" sldId="2147479621"/>
            <ac:spMk id="39" creationId="{BD000EAB-4B70-8E6B-6021-3063DB20608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tuart Pearce" userId="6807ee30-3f1f-4d19-bdba-9250cea9983e" providerId="ADAL" clId="{F3BA9F42-91EC-4E09-BDB7-741E7576E133}" dt="2023-08-22T17:19:36.098" v="6754"/>
              <pc2:cmMkLst xmlns:pc2="http://schemas.microsoft.com/office/powerpoint/2019/9/main/command">
                <pc:docMk/>
                <pc:sldMk cId="1507409585" sldId="2147479621"/>
                <pc2:cmMk id="{F0A8D1DA-733D-436D-BADF-5323898757A1}"/>
              </pc2:cmMkLst>
            </pc226:cmChg>
          </p:ext>
        </pc:extLst>
      </pc:sldChg>
      <pc:sldChg chg="addSp delSp modSp add mod ord">
        <pc:chgData name="Stuart Pearce" userId="6807ee30-3f1f-4d19-bdba-9250cea9983e" providerId="ADAL" clId="{F3BA9F42-91EC-4E09-BDB7-741E7576E133}" dt="2023-08-22T16:42:10.891" v="5430"/>
        <pc:sldMkLst>
          <pc:docMk/>
          <pc:sldMk cId="1588956228" sldId="2147479622"/>
        </pc:sldMkLst>
        <pc:spChg chg="mod">
          <ac:chgData name="Stuart Pearce" userId="6807ee30-3f1f-4d19-bdba-9250cea9983e" providerId="ADAL" clId="{F3BA9F42-91EC-4E09-BDB7-741E7576E133}" dt="2023-08-21T15:25:45.468" v="3106" actId="948"/>
          <ac:spMkLst>
            <pc:docMk/>
            <pc:sldMk cId="1588956228" sldId="2147479622"/>
            <ac:spMk id="2" creationId="{A0A539C7-696A-7DF3-6837-C3696F000047}"/>
          </ac:spMkLst>
        </pc:spChg>
        <pc:spChg chg="add del mod modVis">
          <ac:chgData name="Stuart Pearce" userId="6807ee30-3f1f-4d19-bdba-9250cea9983e" providerId="ADAL" clId="{F3BA9F42-91EC-4E09-BDB7-741E7576E133}" dt="2023-08-21T15:25:45.531" v="3147"/>
          <ac:spMkLst>
            <pc:docMk/>
            <pc:sldMk cId="1588956228" sldId="2147479622"/>
            <ac:spMk id="5" creationId="{884E1E90-9374-2422-8375-D5D322762678}"/>
          </ac:spMkLst>
        </pc:spChg>
        <pc:graphicFrameChg chg="mod">
          <ac:chgData name="Stuart Pearce" userId="6807ee30-3f1f-4d19-bdba-9250cea9983e" providerId="ADAL" clId="{F3BA9F42-91EC-4E09-BDB7-741E7576E133}" dt="2023-08-21T15:25:45.537" v="3149"/>
          <ac:graphicFrameMkLst>
            <pc:docMk/>
            <pc:sldMk cId="1588956228" sldId="2147479622"/>
            <ac:graphicFrameMk id="6" creationId="{EDFA9C19-2135-724C-1613-9349AE517837}"/>
          </ac:graphicFrameMkLst>
        </pc:graphicFrameChg>
      </pc:sldChg>
    </pc:docChg>
  </pc:docChgLst>
  <pc:docChgLst>
    <pc:chgData name="Stuart Pearce" userId="6807ee30-3f1f-4d19-bdba-9250cea9983e" providerId="ADAL" clId="{8A7C60A7-B9B2-4064-8F9C-4B9FC6D6C936}"/>
    <pc:docChg chg="modSld">
      <pc:chgData name="Stuart Pearce" userId="6807ee30-3f1f-4d19-bdba-9250cea9983e" providerId="ADAL" clId="{8A7C60A7-B9B2-4064-8F9C-4B9FC6D6C936}" dt="2023-10-07T16:32:32.948" v="41" actId="20577"/>
      <pc:docMkLst>
        <pc:docMk/>
      </pc:docMkLst>
      <pc:sldChg chg="modSp mod">
        <pc:chgData name="Stuart Pearce" userId="6807ee30-3f1f-4d19-bdba-9250cea9983e" providerId="ADAL" clId="{8A7C60A7-B9B2-4064-8F9C-4B9FC6D6C936}" dt="2023-10-07T16:32:32.948" v="41" actId="20577"/>
        <pc:sldMkLst>
          <pc:docMk/>
          <pc:sldMk cId="4093244944" sldId="2147479644"/>
        </pc:sldMkLst>
        <pc:spChg chg="mod">
          <ac:chgData name="Stuart Pearce" userId="6807ee30-3f1f-4d19-bdba-9250cea9983e" providerId="ADAL" clId="{8A7C60A7-B9B2-4064-8F9C-4B9FC6D6C936}" dt="2023-10-07T16:32:32.948" v="41" actId="20577"/>
          <ac:spMkLst>
            <pc:docMk/>
            <pc:sldMk cId="4093244944" sldId="2147479644"/>
            <ac:spMk id="10" creationId="{1B7BBC78-63BD-CFE6-3ABA-CA188488139E}"/>
          </ac:spMkLst>
        </pc:spChg>
      </pc:sldChg>
    </pc:docChg>
  </pc:docChgLst>
  <pc:docChgLst>
    <pc:chgData name="Srivaths Swaminathan" userId="fab820a8-d04c-4fb7-bc62-495e227921e9" providerId="ADAL" clId="{AC32145C-6D11-49D8-B0D6-2587BF434AF8}"/>
    <pc:docChg chg="custSel modSld">
      <pc:chgData name="Srivaths Swaminathan" userId="fab820a8-d04c-4fb7-bc62-495e227921e9" providerId="ADAL" clId="{AC32145C-6D11-49D8-B0D6-2587BF434AF8}" dt="2023-10-03T16:44:20.746" v="11" actId="12"/>
      <pc:docMkLst>
        <pc:docMk/>
      </pc:docMkLst>
      <pc:sldChg chg="modSp mod">
        <pc:chgData name="Srivaths Swaminathan" userId="fab820a8-d04c-4fb7-bc62-495e227921e9" providerId="ADAL" clId="{AC32145C-6D11-49D8-B0D6-2587BF434AF8}" dt="2023-10-03T16:35:49.827" v="9" actId="12"/>
        <pc:sldMkLst>
          <pc:docMk/>
          <pc:sldMk cId="3836714402" sldId="2147479643"/>
        </pc:sldMkLst>
        <pc:graphicFrameChg chg="modGraphic">
          <ac:chgData name="Srivaths Swaminathan" userId="fab820a8-d04c-4fb7-bc62-495e227921e9" providerId="ADAL" clId="{AC32145C-6D11-49D8-B0D6-2587BF434AF8}" dt="2023-10-03T16:35:49.827" v="9" actId="12"/>
          <ac:graphicFrameMkLst>
            <pc:docMk/>
            <pc:sldMk cId="3836714402" sldId="2147479643"/>
            <ac:graphicFrameMk id="6" creationId="{D6349969-8011-AAA1-963E-891ABB1C2F64}"/>
          </ac:graphicFrameMkLst>
        </pc:graphicFrameChg>
      </pc:sldChg>
      <pc:sldChg chg="modSp mod">
        <pc:chgData name="Srivaths Swaminathan" userId="fab820a8-d04c-4fb7-bc62-495e227921e9" providerId="ADAL" clId="{AC32145C-6D11-49D8-B0D6-2587BF434AF8}" dt="2023-10-03T16:44:20.746" v="11" actId="12"/>
        <pc:sldMkLst>
          <pc:docMk/>
          <pc:sldMk cId="504367098" sldId="2147479647"/>
        </pc:sldMkLst>
        <pc:graphicFrameChg chg="modGraphic">
          <ac:chgData name="Srivaths Swaminathan" userId="fab820a8-d04c-4fb7-bc62-495e227921e9" providerId="ADAL" clId="{AC32145C-6D11-49D8-B0D6-2587BF434AF8}" dt="2023-10-03T16:44:20.746" v="11" actId="12"/>
          <ac:graphicFrameMkLst>
            <pc:docMk/>
            <pc:sldMk cId="504367098" sldId="2147479647"/>
            <ac:graphicFrameMk id="6" creationId="{D6349969-8011-AAA1-963E-891ABB1C2F64}"/>
          </ac:graphicFrameMkLst>
        </pc:graphicFrameChg>
      </pc:sldChg>
      <pc:sldChg chg="delSp modSp mod">
        <pc:chgData name="Srivaths Swaminathan" userId="fab820a8-d04c-4fb7-bc62-495e227921e9" providerId="ADAL" clId="{AC32145C-6D11-49D8-B0D6-2587BF434AF8}" dt="2023-10-03T16:34:29.666" v="3" actId="478"/>
        <pc:sldMkLst>
          <pc:docMk/>
          <pc:sldMk cId="2793390057" sldId="2147479648"/>
        </pc:sldMkLst>
        <pc:spChg chg="mod">
          <ac:chgData name="Srivaths Swaminathan" userId="fab820a8-d04c-4fb7-bc62-495e227921e9" providerId="ADAL" clId="{AC32145C-6D11-49D8-B0D6-2587BF434AF8}" dt="2023-10-03T16:34:19.806" v="2" actId="179"/>
          <ac:spMkLst>
            <pc:docMk/>
            <pc:sldMk cId="2793390057" sldId="2147479648"/>
            <ac:spMk id="6" creationId="{A523964C-3D8A-9ABB-D2D2-22B6075154D5}"/>
          </ac:spMkLst>
        </pc:spChg>
        <pc:spChg chg="del">
          <ac:chgData name="Srivaths Swaminathan" userId="fab820a8-d04c-4fb7-bc62-495e227921e9" providerId="ADAL" clId="{AC32145C-6D11-49D8-B0D6-2587BF434AF8}" dt="2023-10-03T16:34:29.666" v="3" actId="478"/>
          <ac:spMkLst>
            <pc:docMk/>
            <pc:sldMk cId="2793390057" sldId="2147479648"/>
            <ac:spMk id="7" creationId="{E66C03D5-695F-FA66-4454-2646FAEEF822}"/>
          </ac:spMkLst>
        </pc:spChg>
      </pc:sldChg>
      <pc:sldChg chg="delSp modSp mod">
        <pc:chgData name="Srivaths Swaminathan" userId="fab820a8-d04c-4fb7-bc62-495e227921e9" providerId="ADAL" clId="{AC32145C-6D11-49D8-B0D6-2587BF434AF8}" dt="2023-10-03T16:34:52.051" v="8" actId="179"/>
        <pc:sldMkLst>
          <pc:docMk/>
          <pc:sldMk cId="340413132" sldId="2147479649"/>
        </pc:sldMkLst>
        <pc:spChg chg="mod">
          <ac:chgData name="Srivaths Swaminathan" userId="fab820a8-d04c-4fb7-bc62-495e227921e9" providerId="ADAL" clId="{AC32145C-6D11-49D8-B0D6-2587BF434AF8}" dt="2023-10-03T16:34:52.051" v="8" actId="179"/>
          <ac:spMkLst>
            <pc:docMk/>
            <pc:sldMk cId="340413132" sldId="2147479649"/>
            <ac:spMk id="6" creationId="{A523964C-3D8A-9ABB-D2D2-22B6075154D5}"/>
          </ac:spMkLst>
        </pc:spChg>
        <pc:spChg chg="del">
          <ac:chgData name="Srivaths Swaminathan" userId="fab820a8-d04c-4fb7-bc62-495e227921e9" providerId="ADAL" clId="{AC32145C-6D11-49D8-B0D6-2587BF434AF8}" dt="2023-10-03T16:34:34.927" v="4" actId="478"/>
          <ac:spMkLst>
            <pc:docMk/>
            <pc:sldMk cId="340413132" sldId="2147479649"/>
            <ac:spMk id="7" creationId="{E66C03D5-695F-FA66-4454-2646FAEEF822}"/>
          </ac:spMkLst>
        </pc:spChg>
      </pc:sldChg>
    </pc:docChg>
  </pc:docChgLst>
  <pc:docChgLst>
    <pc:chgData name="Eamon Rivers" userId="956d6d30-7046-42d6-9cf6-180e303d8cb6" providerId="ADAL" clId="{65B5E4BC-D0F3-4B00-A0AD-997539550516}"/>
    <pc:docChg chg="delSld">
      <pc:chgData name="Eamon Rivers" userId="956d6d30-7046-42d6-9cf6-180e303d8cb6" providerId="ADAL" clId="{65B5E4BC-D0F3-4B00-A0AD-997539550516}" dt="2023-09-01T13:51:00.135" v="0" actId="47"/>
      <pc:docMkLst>
        <pc:docMk/>
      </pc:docMkLst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1932827902" sldId="2147470282"/>
        </pc:sldMkLst>
      </pc:sldChg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3739948955" sldId="2147479630"/>
        </pc:sldMkLst>
      </pc:sldChg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2824575596" sldId="2147479631"/>
        </pc:sldMkLst>
      </pc:sldChg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2474842549" sldId="2147479632"/>
        </pc:sldMkLst>
      </pc:sldChg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2209361113" sldId="2147479633"/>
        </pc:sldMkLst>
      </pc:sldChg>
      <pc:sldChg chg="del">
        <pc:chgData name="Eamon Rivers" userId="956d6d30-7046-42d6-9cf6-180e303d8cb6" providerId="ADAL" clId="{65B5E4BC-D0F3-4B00-A0AD-997539550516}" dt="2023-09-01T13:51:00.135" v="0" actId="47"/>
        <pc:sldMkLst>
          <pc:docMk/>
          <pc:sldMk cId="2026828799" sldId="2147479634"/>
        </pc:sldMkLst>
      </pc:sldChg>
      <pc:sldMasterChg chg="delSldLayout">
        <pc:chgData name="Eamon Rivers" userId="956d6d30-7046-42d6-9cf6-180e303d8cb6" providerId="ADAL" clId="{65B5E4BC-D0F3-4B00-A0AD-997539550516}" dt="2023-09-01T13:51:00.135" v="0" actId="47"/>
        <pc:sldMasterMkLst>
          <pc:docMk/>
          <pc:sldMasterMk cId="3571950928" sldId="2147483820"/>
        </pc:sldMasterMkLst>
        <pc:sldLayoutChg chg="del">
          <pc:chgData name="Eamon Rivers" userId="956d6d30-7046-42d6-9cf6-180e303d8cb6" providerId="ADAL" clId="{65B5E4BC-D0F3-4B00-A0AD-997539550516}" dt="2023-09-01T13:51:00.135" v="0" actId="47"/>
          <pc:sldLayoutMkLst>
            <pc:docMk/>
            <pc:sldMasterMk cId="3571950928" sldId="2147483820"/>
            <pc:sldLayoutMk cId="1480739009" sldId="2147483896"/>
          </pc:sldLayoutMkLst>
        </pc:sldLayoutChg>
      </pc:sldMasterChg>
    </pc:docChg>
  </pc:docChgLst>
  <pc:docChgLst>
    <pc:chgData name="Srivaths Swaminathan" userId="S::srivaths.swaminathan@hgcapital.com::fab820a8-d04c-4fb7-bc62-495e227921e9" providerId="AD" clId="Web-{45E04C9A-CA28-A0EF-6A5E-7498A5B1936D}"/>
    <pc:docChg chg="modSld">
      <pc:chgData name="Srivaths Swaminathan" userId="S::srivaths.swaminathan@hgcapital.com::fab820a8-d04c-4fb7-bc62-495e227921e9" providerId="AD" clId="Web-{45E04C9A-CA28-A0EF-6A5E-7498A5B1936D}" dt="2023-10-05T21:46:58.632" v="4" actId="20577"/>
      <pc:docMkLst>
        <pc:docMk/>
      </pc:docMkLst>
      <pc:sldChg chg="modSp">
        <pc:chgData name="Srivaths Swaminathan" userId="S::srivaths.swaminathan@hgcapital.com::fab820a8-d04c-4fb7-bc62-495e227921e9" providerId="AD" clId="Web-{45E04C9A-CA28-A0EF-6A5E-7498A5B1936D}" dt="2023-10-05T21:46:58.632" v="4" actId="20577"/>
        <pc:sldMkLst>
          <pc:docMk/>
          <pc:sldMk cId="82188278" sldId="299"/>
        </pc:sldMkLst>
        <pc:spChg chg="mod">
          <ac:chgData name="Srivaths Swaminathan" userId="S::srivaths.swaminathan@hgcapital.com::fab820a8-d04c-4fb7-bc62-495e227921e9" providerId="AD" clId="Web-{45E04C9A-CA28-A0EF-6A5E-7498A5B1936D}" dt="2023-10-05T21:46:58.632" v="4" actId="20577"/>
          <ac:spMkLst>
            <pc:docMk/>
            <pc:sldMk cId="82188278" sldId="299"/>
            <ac:spMk id="41" creationId="{1607B1AD-CABE-1E0C-38B6-F29BDF766158}"/>
          </ac:spMkLst>
        </pc:spChg>
      </pc:sldChg>
    </pc:docChg>
  </pc:docChgLst>
  <pc:docChgLst>
    <pc:chgData name="Stuart Pearce" userId="6807ee30-3f1f-4d19-bdba-9250cea9983e" providerId="ADAL" clId="{D10B06F5-1C35-4F1D-AD8E-97B53FDDC6AB}"/>
    <pc:docChg chg="undo redo custSel addSld delSld modSld sldOrd">
      <pc:chgData name="Stuart Pearce" userId="6807ee30-3f1f-4d19-bdba-9250cea9983e" providerId="ADAL" clId="{D10B06F5-1C35-4F1D-AD8E-97B53FDDC6AB}" dt="2023-10-03T15:00:06.213" v="4529" actId="2696"/>
      <pc:docMkLst>
        <pc:docMk/>
      </pc:docMkLst>
      <pc:sldChg chg="modSp mod">
        <pc:chgData name="Stuart Pearce" userId="6807ee30-3f1f-4d19-bdba-9250cea9983e" providerId="ADAL" clId="{D10B06F5-1C35-4F1D-AD8E-97B53FDDC6AB}" dt="2023-10-03T08:02:43.393" v="70" actId="20577"/>
        <pc:sldMkLst>
          <pc:docMk/>
          <pc:sldMk cId="3361998970" sldId="258"/>
        </pc:sldMkLst>
        <pc:spChg chg="mod">
          <ac:chgData name="Stuart Pearce" userId="6807ee30-3f1f-4d19-bdba-9250cea9983e" providerId="ADAL" clId="{D10B06F5-1C35-4F1D-AD8E-97B53FDDC6AB}" dt="2023-10-03T08:02:43.393" v="70" actId="20577"/>
          <ac:spMkLst>
            <pc:docMk/>
            <pc:sldMk cId="3361998970" sldId="258"/>
            <ac:spMk id="4" creationId="{532BA280-18FB-4486-AC4D-7AE49367EEBF}"/>
          </ac:spMkLst>
        </pc:spChg>
        <pc:spChg chg="mod">
          <ac:chgData name="Stuart Pearce" userId="6807ee30-3f1f-4d19-bdba-9250cea9983e" providerId="ADAL" clId="{D10B06F5-1C35-4F1D-AD8E-97B53FDDC6AB}" dt="2023-10-03T08:02:22.970" v="30" actId="20577"/>
          <ac:spMkLst>
            <pc:docMk/>
            <pc:sldMk cId="3361998970" sldId="258"/>
            <ac:spMk id="5" creationId="{9F2D4557-4290-40D1-9375-0D599039FB2E}"/>
          </ac:spMkLst>
        </pc:spChg>
      </pc:sldChg>
      <pc:sldChg chg="ord">
        <pc:chgData name="Stuart Pearce" userId="6807ee30-3f1f-4d19-bdba-9250cea9983e" providerId="ADAL" clId="{D10B06F5-1C35-4F1D-AD8E-97B53FDDC6AB}" dt="2023-10-03T14:59:03.930" v="4528"/>
        <pc:sldMkLst>
          <pc:docMk/>
          <pc:sldMk cId="82188278" sldId="299"/>
        </pc:sldMkLst>
      </pc:sldChg>
      <pc:sldChg chg="del">
        <pc:chgData name="Stuart Pearce" userId="6807ee30-3f1f-4d19-bdba-9250cea9983e" providerId="ADAL" clId="{D10B06F5-1C35-4F1D-AD8E-97B53FDDC6AB}" dt="2023-10-03T11:11:54.070" v="1218" actId="2696"/>
        <pc:sldMkLst>
          <pc:docMk/>
          <pc:sldMk cId="3394927182" sldId="2145707961"/>
        </pc:sldMkLst>
      </pc:sldChg>
      <pc:sldChg chg="del">
        <pc:chgData name="Stuart Pearce" userId="6807ee30-3f1f-4d19-bdba-9250cea9983e" providerId="ADAL" clId="{D10B06F5-1C35-4F1D-AD8E-97B53FDDC6AB}" dt="2023-10-03T11:11:54.070" v="1218" actId="2696"/>
        <pc:sldMkLst>
          <pc:docMk/>
          <pc:sldMk cId="1497944511" sldId="2145707963"/>
        </pc:sldMkLst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1485362133" sldId="2147479563"/>
        </pc:sldMkLst>
      </pc:sldChg>
      <pc:sldChg chg="modSp mod">
        <pc:chgData name="Stuart Pearce" userId="6807ee30-3f1f-4d19-bdba-9250cea9983e" providerId="ADAL" clId="{D10B06F5-1C35-4F1D-AD8E-97B53FDDC6AB}" dt="2023-10-03T08:23:00.266" v="452" actId="20577"/>
        <pc:sldMkLst>
          <pc:docMk/>
          <pc:sldMk cId="1228449258" sldId="2147479574"/>
        </pc:sldMkLst>
        <pc:spChg chg="mod">
          <ac:chgData name="Stuart Pearce" userId="6807ee30-3f1f-4d19-bdba-9250cea9983e" providerId="ADAL" clId="{D10B06F5-1C35-4F1D-AD8E-97B53FDDC6AB}" dt="2023-10-03T08:19:08.923" v="348" actId="20577"/>
          <ac:spMkLst>
            <pc:docMk/>
            <pc:sldMk cId="1228449258" sldId="2147479574"/>
            <ac:spMk id="2" creationId="{E095F009-F48C-2687-23C2-E2266D3C074D}"/>
          </ac:spMkLst>
        </pc:spChg>
        <pc:spChg chg="mod">
          <ac:chgData name="Stuart Pearce" userId="6807ee30-3f1f-4d19-bdba-9250cea9983e" providerId="ADAL" clId="{D10B06F5-1C35-4F1D-AD8E-97B53FDDC6AB}" dt="2023-10-03T08:23:00.266" v="452" actId="20577"/>
          <ac:spMkLst>
            <pc:docMk/>
            <pc:sldMk cId="1228449258" sldId="2147479574"/>
            <ac:spMk id="16" creationId="{8E7AA8DF-AEED-CC54-4E5E-9FD91A4CF43E}"/>
          </ac:spMkLst>
        </pc:spChg>
        <pc:spChg chg="mod">
          <ac:chgData name="Stuart Pearce" userId="6807ee30-3f1f-4d19-bdba-9250cea9983e" providerId="ADAL" clId="{D10B06F5-1C35-4F1D-AD8E-97B53FDDC6AB}" dt="2023-10-03T08:22:46.073" v="445" actId="6549"/>
          <ac:spMkLst>
            <pc:docMk/>
            <pc:sldMk cId="1228449258" sldId="2147479574"/>
            <ac:spMk id="25" creationId="{1795C386-2B57-434A-7F3A-733BA0CE57FC}"/>
          </ac:spMkLst>
        </pc:spChg>
        <pc:spChg chg="mod">
          <ac:chgData name="Stuart Pearce" userId="6807ee30-3f1f-4d19-bdba-9250cea9983e" providerId="ADAL" clId="{D10B06F5-1C35-4F1D-AD8E-97B53FDDC6AB}" dt="2023-10-03T08:21:13.635" v="429" actId="20577"/>
          <ac:spMkLst>
            <pc:docMk/>
            <pc:sldMk cId="1228449258" sldId="2147479574"/>
            <ac:spMk id="29" creationId="{0839A718-93FD-1916-8D68-9A27BB2F7DF4}"/>
          </ac:spMkLst>
        </pc:spChg>
        <pc:spChg chg="mod">
          <ac:chgData name="Stuart Pearce" userId="6807ee30-3f1f-4d19-bdba-9250cea9983e" providerId="ADAL" clId="{D10B06F5-1C35-4F1D-AD8E-97B53FDDC6AB}" dt="2023-10-03T08:21:34.705" v="444" actId="20577"/>
          <ac:spMkLst>
            <pc:docMk/>
            <pc:sldMk cId="1228449258" sldId="2147479574"/>
            <ac:spMk id="31" creationId="{0A7D35CD-A722-A216-348B-C81B90ACCEBB}"/>
          </ac:spMkLst>
        </pc:spChg>
      </pc:sldChg>
      <pc:sldChg chg="modSp mod delCm">
        <pc:chgData name="Stuart Pearce" userId="6807ee30-3f1f-4d19-bdba-9250cea9983e" providerId="ADAL" clId="{D10B06F5-1C35-4F1D-AD8E-97B53FDDC6AB}" dt="2023-10-03T14:53:39.036" v="4465"/>
        <pc:sldMkLst>
          <pc:docMk/>
          <pc:sldMk cId="3329937239" sldId="2147479606"/>
        </pc:sldMkLst>
        <pc:spChg chg="mod">
          <ac:chgData name="Stuart Pearce" userId="6807ee30-3f1f-4d19-bdba-9250cea9983e" providerId="ADAL" clId="{D10B06F5-1C35-4F1D-AD8E-97B53FDDC6AB}" dt="2023-10-03T14:29:18.271" v="3925" actId="20577"/>
          <ac:spMkLst>
            <pc:docMk/>
            <pc:sldMk cId="3329937239" sldId="2147479606"/>
            <ac:spMk id="6" creationId="{9D2D055B-B9DC-AF13-E7D3-CB533E18D7CA}"/>
          </ac:spMkLst>
        </pc:spChg>
        <pc:graphicFrameChg chg="mod modGraphic">
          <ac:chgData name="Stuart Pearce" userId="6807ee30-3f1f-4d19-bdba-9250cea9983e" providerId="ADAL" clId="{D10B06F5-1C35-4F1D-AD8E-97B53FDDC6AB}" dt="2023-10-03T14:53:39.036" v="4465"/>
          <ac:graphicFrameMkLst>
            <pc:docMk/>
            <pc:sldMk cId="3329937239" sldId="2147479606"/>
            <ac:graphicFrameMk id="7" creationId="{3FA029AD-B23D-F6C8-DDAB-EBE7705ED18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tuart Pearce" userId="6807ee30-3f1f-4d19-bdba-9250cea9983e" providerId="ADAL" clId="{D10B06F5-1C35-4F1D-AD8E-97B53FDDC6AB}" dt="2023-10-03T14:29:22.548" v="3926"/>
              <pc2:cmMkLst xmlns:pc2="http://schemas.microsoft.com/office/powerpoint/2019/9/main/command">
                <pc:docMk/>
                <pc:sldMk cId="3329937239" sldId="2147479606"/>
                <pc2:cmMk id="{7713018A-8C26-456E-8563-4CC83F53F1D1}"/>
              </pc2:cmMkLst>
            </pc226:cmChg>
          </p:ext>
        </pc:extLst>
      </pc:sldChg>
      <pc:sldChg chg="modSp del mod">
        <pc:chgData name="Stuart Pearce" userId="6807ee30-3f1f-4d19-bdba-9250cea9983e" providerId="ADAL" clId="{D10B06F5-1C35-4F1D-AD8E-97B53FDDC6AB}" dt="2023-10-03T08:18:29.827" v="321" actId="6549"/>
        <pc:sldMkLst>
          <pc:docMk/>
          <pc:sldMk cId="3682912496" sldId="2147479610"/>
        </pc:sldMkLst>
        <pc:spChg chg="mod">
          <ac:chgData name="Stuart Pearce" userId="6807ee30-3f1f-4d19-bdba-9250cea9983e" providerId="ADAL" clId="{D10B06F5-1C35-4F1D-AD8E-97B53FDDC6AB}" dt="2023-10-03T08:18:29.827" v="321" actId="6549"/>
          <ac:spMkLst>
            <pc:docMk/>
            <pc:sldMk cId="3682912496" sldId="2147479610"/>
            <ac:spMk id="2" creationId="{1BDA3BE6-602E-B05E-2432-3329F5676411}"/>
          </ac:spMkLst>
        </pc:spChg>
      </pc:sldChg>
      <pc:sldChg chg="modSp mod ord">
        <pc:chgData name="Stuart Pearce" userId="6807ee30-3f1f-4d19-bdba-9250cea9983e" providerId="ADAL" clId="{D10B06F5-1C35-4F1D-AD8E-97B53FDDC6AB}" dt="2023-10-03T14:55:09.887" v="4500" actId="313"/>
        <pc:sldMkLst>
          <pc:docMk/>
          <pc:sldMk cId="3738489707" sldId="2147479613"/>
        </pc:sldMkLst>
        <pc:spChg chg="mod">
          <ac:chgData name="Stuart Pearce" userId="6807ee30-3f1f-4d19-bdba-9250cea9983e" providerId="ADAL" clId="{D10B06F5-1C35-4F1D-AD8E-97B53FDDC6AB}" dt="2023-10-03T14:55:09.887" v="4500" actId="313"/>
          <ac:spMkLst>
            <pc:docMk/>
            <pc:sldMk cId="3738489707" sldId="2147479613"/>
            <ac:spMk id="3" creationId="{A4C10CB4-FF55-AAA8-AAEB-44A5B5072F4E}"/>
          </ac:spMkLst>
        </pc:spChg>
        <pc:spChg chg="mod">
          <ac:chgData name="Stuart Pearce" userId="6807ee30-3f1f-4d19-bdba-9250cea9983e" providerId="ADAL" clId="{D10B06F5-1C35-4F1D-AD8E-97B53FDDC6AB}" dt="2023-10-03T11:15:48.626" v="1271" actId="20577"/>
          <ac:spMkLst>
            <pc:docMk/>
            <pc:sldMk cId="3738489707" sldId="2147479613"/>
            <ac:spMk id="15" creationId="{607CE684-3270-AE0C-BA2E-9A4FA361C4AE}"/>
          </ac:spMkLst>
        </pc:spChg>
        <pc:spChg chg="mod">
          <ac:chgData name="Stuart Pearce" userId="6807ee30-3f1f-4d19-bdba-9250cea9983e" providerId="ADAL" clId="{D10B06F5-1C35-4F1D-AD8E-97B53FDDC6AB}" dt="2023-10-03T11:14:33.818" v="1242" actId="6549"/>
          <ac:spMkLst>
            <pc:docMk/>
            <pc:sldMk cId="3738489707" sldId="2147479613"/>
            <ac:spMk id="46" creationId="{0F23834F-C1EF-BA93-D560-8677F3F48141}"/>
          </ac:spMkLst>
        </pc:spChg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167908758" sldId="2147479615"/>
        </pc:sldMkLst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1507409585" sldId="2147479621"/>
        </pc:sldMkLst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3217091560" sldId="2147479623"/>
        </pc:sldMkLst>
      </pc:sldChg>
      <pc:sldChg chg="modSp mod ord">
        <pc:chgData name="Stuart Pearce" userId="6807ee30-3f1f-4d19-bdba-9250cea9983e" providerId="ADAL" clId="{D10B06F5-1C35-4F1D-AD8E-97B53FDDC6AB}" dt="2023-10-03T14:55:31.271" v="4524" actId="20577"/>
        <pc:sldMkLst>
          <pc:docMk/>
          <pc:sldMk cId="3842725813" sldId="2147479624"/>
        </pc:sldMkLst>
        <pc:spChg chg="mod">
          <ac:chgData name="Stuart Pearce" userId="6807ee30-3f1f-4d19-bdba-9250cea9983e" providerId="ADAL" clId="{D10B06F5-1C35-4F1D-AD8E-97B53FDDC6AB}" dt="2023-10-03T14:55:31.271" v="4524" actId="20577"/>
          <ac:spMkLst>
            <pc:docMk/>
            <pc:sldMk cId="3842725813" sldId="2147479624"/>
            <ac:spMk id="26" creationId="{6C582F75-9109-CF7E-A08F-EF0DA6E8CFB9}"/>
          </ac:spMkLst>
        </pc:spChg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476862691" sldId="2147479630"/>
        </pc:sldMkLst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2997844699" sldId="2147479631"/>
        </pc:sldMkLst>
      </pc:sldChg>
      <pc:sldChg chg="del">
        <pc:chgData name="Stuart Pearce" userId="6807ee30-3f1f-4d19-bdba-9250cea9983e" providerId="ADAL" clId="{D10B06F5-1C35-4F1D-AD8E-97B53FDDC6AB}" dt="2023-10-03T15:00:06.213" v="4529" actId="2696"/>
        <pc:sldMkLst>
          <pc:docMk/>
          <pc:sldMk cId="1579863136" sldId="2147479632"/>
        </pc:sldMkLst>
      </pc:sldChg>
      <pc:sldChg chg="modSp add mod">
        <pc:chgData name="Stuart Pearce" userId="6807ee30-3f1f-4d19-bdba-9250cea9983e" providerId="ADAL" clId="{D10B06F5-1C35-4F1D-AD8E-97B53FDDC6AB}" dt="2023-10-03T10:37:04.104" v="912" actId="20577"/>
        <pc:sldMkLst>
          <pc:docMk/>
          <pc:sldMk cId="1158066580" sldId="2147479633"/>
        </pc:sldMkLst>
        <pc:spChg chg="mod">
          <ac:chgData name="Stuart Pearce" userId="6807ee30-3f1f-4d19-bdba-9250cea9983e" providerId="ADAL" clId="{D10B06F5-1C35-4F1D-AD8E-97B53FDDC6AB}" dt="2023-10-03T10:37:04.104" v="912" actId="20577"/>
          <ac:spMkLst>
            <pc:docMk/>
            <pc:sldMk cId="1158066580" sldId="2147479633"/>
            <ac:spMk id="2" creationId="{1BDA3BE6-602E-B05E-2432-3329F5676411}"/>
          </ac:spMkLst>
        </pc:spChg>
      </pc:sldChg>
      <pc:sldChg chg="addSp delSp modSp new add del mod modClrScheme chgLayout">
        <pc:chgData name="Stuart Pearce" userId="6807ee30-3f1f-4d19-bdba-9250cea9983e" providerId="ADAL" clId="{D10B06F5-1C35-4F1D-AD8E-97B53FDDC6AB}" dt="2023-10-03T08:04:14.410" v="82" actId="2696"/>
        <pc:sldMkLst>
          <pc:docMk/>
          <pc:sldMk cId="3387730520" sldId="2147479633"/>
        </pc:sldMkLst>
        <pc:spChg chg="del mod ord">
          <ac:chgData name="Stuart Pearce" userId="6807ee30-3f1f-4d19-bdba-9250cea9983e" providerId="ADAL" clId="{D10B06F5-1C35-4F1D-AD8E-97B53FDDC6AB}" dt="2023-10-03T08:03:05.018" v="74"/>
          <ac:spMkLst>
            <pc:docMk/>
            <pc:sldMk cId="3387730520" sldId="2147479633"/>
            <ac:spMk id="2" creationId="{DF5E3D42-B5F0-C3E1-66DB-33C6031CCD20}"/>
          </ac:spMkLst>
        </pc:spChg>
        <pc:spChg chg="add del mod ord">
          <ac:chgData name="Stuart Pearce" userId="6807ee30-3f1f-4d19-bdba-9250cea9983e" providerId="ADAL" clId="{D10B06F5-1C35-4F1D-AD8E-97B53FDDC6AB}" dt="2023-10-03T08:03:16.776" v="76"/>
          <ac:spMkLst>
            <pc:docMk/>
            <pc:sldMk cId="3387730520" sldId="2147479633"/>
            <ac:spMk id="3" creationId="{078D7D2D-070C-86D2-1059-D7032EF94FF6}"/>
          </ac:spMkLst>
        </pc:spChg>
        <pc:spChg chg="add del mod ord">
          <ac:chgData name="Stuart Pearce" userId="6807ee30-3f1f-4d19-bdba-9250cea9983e" providerId="ADAL" clId="{D10B06F5-1C35-4F1D-AD8E-97B53FDDC6AB}" dt="2023-10-03T08:03:16.776" v="76"/>
          <ac:spMkLst>
            <pc:docMk/>
            <pc:sldMk cId="3387730520" sldId="2147479633"/>
            <ac:spMk id="4" creationId="{0E29453A-2AE4-1FA9-5CCB-427004E95FEF}"/>
          </ac:spMkLst>
        </pc:spChg>
        <pc:spChg chg="add del mod ord">
          <ac:chgData name="Stuart Pearce" userId="6807ee30-3f1f-4d19-bdba-9250cea9983e" providerId="ADAL" clId="{D10B06F5-1C35-4F1D-AD8E-97B53FDDC6AB}" dt="2023-10-03T08:03:16.776" v="76"/>
          <ac:spMkLst>
            <pc:docMk/>
            <pc:sldMk cId="3387730520" sldId="2147479633"/>
            <ac:spMk id="5" creationId="{F30D1268-19F5-52B7-AE42-746A2824EFEB}"/>
          </ac:spMkLst>
        </pc:spChg>
        <pc:spChg chg="add del mod ord">
          <ac:chgData name="Stuart Pearce" userId="6807ee30-3f1f-4d19-bdba-9250cea9983e" providerId="ADAL" clId="{D10B06F5-1C35-4F1D-AD8E-97B53FDDC6AB}" dt="2023-10-03T08:03:22.404" v="78"/>
          <ac:spMkLst>
            <pc:docMk/>
            <pc:sldMk cId="3387730520" sldId="2147479633"/>
            <ac:spMk id="6" creationId="{07990567-4D3F-B278-9E54-197B56481C7A}"/>
          </ac:spMkLst>
        </pc:spChg>
        <pc:spChg chg="add del mod ord">
          <ac:chgData name="Stuart Pearce" userId="6807ee30-3f1f-4d19-bdba-9250cea9983e" providerId="ADAL" clId="{D10B06F5-1C35-4F1D-AD8E-97B53FDDC6AB}" dt="2023-10-03T08:03:34.052" v="80"/>
          <ac:spMkLst>
            <pc:docMk/>
            <pc:sldMk cId="3387730520" sldId="2147479633"/>
            <ac:spMk id="7" creationId="{385D46AC-6F87-4523-6A38-AE3A008AB6CA}"/>
          </ac:spMkLst>
        </pc:spChg>
        <pc:spChg chg="add mod ord">
          <ac:chgData name="Stuart Pearce" userId="6807ee30-3f1f-4d19-bdba-9250cea9983e" providerId="ADAL" clId="{D10B06F5-1C35-4F1D-AD8E-97B53FDDC6AB}" dt="2023-10-03T08:03:34.052" v="80"/>
          <ac:spMkLst>
            <pc:docMk/>
            <pc:sldMk cId="3387730520" sldId="2147479633"/>
            <ac:spMk id="8" creationId="{BD7B300D-B24C-A31D-1707-3FB58870B318}"/>
          </ac:spMkLst>
        </pc:spChg>
      </pc:sldChg>
      <pc:sldChg chg="modSp add mod ord">
        <pc:chgData name="Stuart Pearce" userId="6807ee30-3f1f-4d19-bdba-9250cea9983e" providerId="ADAL" clId="{D10B06F5-1C35-4F1D-AD8E-97B53FDDC6AB}" dt="2023-10-03T08:10:14.832" v="177" actId="20577"/>
        <pc:sldMkLst>
          <pc:docMk/>
          <pc:sldMk cId="4048782903" sldId="2147479634"/>
        </pc:sldMkLst>
        <pc:spChg chg="mod">
          <ac:chgData name="Stuart Pearce" userId="6807ee30-3f1f-4d19-bdba-9250cea9983e" providerId="ADAL" clId="{D10B06F5-1C35-4F1D-AD8E-97B53FDDC6AB}" dt="2023-10-03T08:10:14.832" v="177" actId="20577"/>
          <ac:spMkLst>
            <pc:docMk/>
            <pc:sldMk cId="4048782903" sldId="2147479634"/>
            <ac:spMk id="2" creationId="{1BDA3BE6-602E-B05E-2432-3329F5676411}"/>
          </ac:spMkLst>
        </pc:spChg>
      </pc:sldChg>
      <pc:sldChg chg="modSp add mod">
        <pc:chgData name="Stuart Pearce" userId="6807ee30-3f1f-4d19-bdba-9250cea9983e" providerId="ADAL" clId="{D10B06F5-1C35-4F1D-AD8E-97B53FDDC6AB}" dt="2023-10-03T08:11:07.538" v="187" actId="20577"/>
        <pc:sldMkLst>
          <pc:docMk/>
          <pc:sldMk cId="2164810723" sldId="2147479635"/>
        </pc:sldMkLst>
        <pc:spChg chg="mod">
          <ac:chgData name="Stuart Pearce" userId="6807ee30-3f1f-4d19-bdba-9250cea9983e" providerId="ADAL" clId="{D10B06F5-1C35-4F1D-AD8E-97B53FDDC6AB}" dt="2023-10-03T08:11:07.538" v="187" actId="20577"/>
          <ac:spMkLst>
            <pc:docMk/>
            <pc:sldMk cId="2164810723" sldId="2147479635"/>
            <ac:spMk id="2" creationId="{1BDA3BE6-602E-B05E-2432-3329F5676411}"/>
          </ac:spMkLst>
        </pc:spChg>
      </pc:sldChg>
      <pc:sldChg chg="modSp add mod">
        <pc:chgData name="Stuart Pearce" userId="6807ee30-3f1f-4d19-bdba-9250cea9983e" providerId="ADAL" clId="{D10B06F5-1C35-4F1D-AD8E-97B53FDDC6AB}" dt="2023-10-03T08:11:55.032" v="208" actId="20577"/>
        <pc:sldMkLst>
          <pc:docMk/>
          <pc:sldMk cId="3304257450" sldId="2147479636"/>
        </pc:sldMkLst>
        <pc:spChg chg="mod">
          <ac:chgData name="Stuart Pearce" userId="6807ee30-3f1f-4d19-bdba-9250cea9983e" providerId="ADAL" clId="{D10B06F5-1C35-4F1D-AD8E-97B53FDDC6AB}" dt="2023-10-03T08:11:55.032" v="208" actId="20577"/>
          <ac:spMkLst>
            <pc:docMk/>
            <pc:sldMk cId="3304257450" sldId="2147479636"/>
            <ac:spMk id="2" creationId="{1BDA3BE6-602E-B05E-2432-3329F5676411}"/>
          </ac:spMkLst>
        </pc:spChg>
      </pc:sldChg>
      <pc:sldChg chg="modSp add mod">
        <pc:chgData name="Stuart Pearce" userId="6807ee30-3f1f-4d19-bdba-9250cea9983e" providerId="ADAL" clId="{D10B06F5-1C35-4F1D-AD8E-97B53FDDC6AB}" dt="2023-10-03T08:14:02.346" v="241" actId="20577"/>
        <pc:sldMkLst>
          <pc:docMk/>
          <pc:sldMk cId="4131508026" sldId="2147479637"/>
        </pc:sldMkLst>
        <pc:spChg chg="mod">
          <ac:chgData name="Stuart Pearce" userId="6807ee30-3f1f-4d19-bdba-9250cea9983e" providerId="ADAL" clId="{D10B06F5-1C35-4F1D-AD8E-97B53FDDC6AB}" dt="2023-10-03T08:14:02.346" v="241" actId="20577"/>
          <ac:spMkLst>
            <pc:docMk/>
            <pc:sldMk cId="4131508026" sldId="2147479637"/>
            <ac:spMk id="2" creationId="{1BDA3BE6-602E-B05E-2432-3329F5676411}"/>
          </ac:spMkLst>
        </pc:spChg>
      </pc:sldChg>
      <pc:sldChg chg="modSp add mod">
        <pc:chgData name="Stuart Pearce" userId="6807ee30-3f1f-4d19-bdba-9250cea9983e" providerId="ADAL" clId="{D10B06F5-1C35-4F1D-AD8E-97B53FDDC6AB}" dt="2023-10-03T08:14:32.496" v="273" actId="20577"/>
        <pc:sldMkLst>
          <pc:docMk/>
          <pc:sldMk cId="2524318679" sldId="2147479638"/>
        </pc:sldMkLst>
        <pc:spChg chg="mod">
          <ac:chgData name="Stuart Pearce" userId="6807ee30-3f1f-4d19-bdba-9250cea9983e" providerId="ADAL" clId="{D10B06F5-1C35-4F1D-AD8E-97B53FDDC6AB}" dt="2023-10-03T08:14:32.496" v="273" actId="20577"/>
          <ac:spMkLst>
            <pc:docMk/>
            <pc:sldMk cId="2524318679" sldId="2147479638"/>
            <ac:spMk id="2" creationId="{1BDA3BE6-602E-B05E-2432-3329F5676411}"/>
          </ac:spMkLst>
        </pc:spChg>
      </pc:sldChg>
      <pc:sldChg chg="modSp add mod">
        <pc:chgData name="Stuart Pearce" userId="6807ee30-3f1f-4d19-bdba-9250cea9983e" providerId="ADAL" clId="{D10B06F5-1C35-4F1D-AD8E-97B53FDDC6AB}" dt="2023-10-03T08:14:51.190" v="290" actId="20577"/>
        <pc:sldMkLst>
          <pc:docMk/>
          <pc:sldMk cId="4229467445" sldId="2147479639"/>
        </pc:sldMkLst>
        <pc:spChg chg="mod">
          <ac:chgData name="Stuart Pearce" userId="6807ee30-3f1f-4d19-bdba-9250cea9983e" providerId="ADAL" clId="{D10B06F5-1C35-4F1D-AD8E-97B53FDDC6AB}" dt="2023-10-03T08:14:51.190" v="290" actId="20577"/>
          <ac:spMkLst>
            <pc:docMk/>
            <pc:sldMk cId="4229467445" sldId="2147479639"/>
            <ac:spMk id="2" creationId="{1BDA3BE6-602E-B05E-2432-3329F5676411}"/>
          </ac:spMkLst>
        </pc:spChg>
      </pc:sldChg>
      <pc:sldChg chg="addSp delSp modSp add mod">
        <pc:chgData name="Stuart Pearce" userId="6807ee30-3f1f-4d19-bdba-9250cea9983e" providerId="ADAL" clId="{D10B06F5-1C35-4F1D-AD8E-97B53FDDC6AB}" dt="2023-10-03T10:36:29.925" v="897"/>
        <pc:sldMkLst>
          <pc:docMk/>
          <pc:sldMk cId="152099157" sldId="2147479640"/>
        </pc:sldMkLst>
        <pc:spChg chg="mod">
          <ac:chgData name="Stuart Pearce" userId="6807ee30-3f1f-4d19-bdba-9250cea9983e" providerId="ADAL" clId="{D10B06F5-1C35-4F1D-AD8E-97B53FDDC6AB}" dt="2023-10-03T09:19:26.954" v="566" actId="1076"/>
          <ac:spMkLst>
            <pc:docMk/>
            <pc:sldMk cId="152099157" sldId="2147479640"/>
            <ac:spMk id="2" creationId="{E095F009-F48C-2687-23C2-E2266D3C074D}"/>
          </ac:spMkLst>
        </pc:spChg>
        <pc:spChg chg="mod ord">
          <ac:chgData name="Stuart Pearce" userId="6807ee30-3f1f-4d19-bdba-9250cea9983e" providerId="ADAL" clId="{D10B06F5-1C35-4F1D-AD8E-97B53FDDC6AB}" dt="2023-10-03T09:21:03.233" v="751" actId="1038"/>
          <ac:spMkLst>
            <pc:docMk/>
            <pc:sldMk cId="152099157" sldId="2147479640"/>
            <ac:spMk id="3" creationId="{3D78751D-12B1-3CC0-83B1-228B6F584063}"/>
          </ac:spMkLst>
        </pc:spChg>
        <pc:spChg chg="del">
          <ac:chgData name="Stuart Pearce" userId="6807ee30-3f1f-4d19-bdba-9250cea9983e" providerId="ADAL" clId="{D10B06F5-1C35-4F1D-AD8E-97B53FDDC6AB}" dt="2023-10-03T08:28:24.462" v="470" actId="478"/>
          <ac:spMkLst>
            <pc:docMk/>
            <pc:sldMk cId="152099157" sldId="2147479640"/>
            <ac:spMk id="5" creationId="{443A49EB-8A15-7B56-AD7F-53FF74111627}"/>
          </ac:spMkLst>
        </pc:spChg>
        <pc:spChg chg="mod ord">
          <ac:chgData name="Stuart Pearce" userId="6807ee30-3f1f-4d19-bdba-9250cea9983e" providerId="ADAL" clId="{D10B06F5-1C35-4F1D-AD8E-97B53FDDC6AB}" dt="2023-10-03T09:20:56.543" v="674" actId="166"/>
          <ac:spMkLst>
            <pc:docMk/>
            <pc:sldMk cId="152099157" sldId="2147479640"/>
            <ac:spMk id="6" creationId="{D5E147B6-B43F-2EB3-4DB2-556E3B0294A8}"/>
          </ac:spMkLst>
        </pc:spChg>
        <pc:spChg chg="mod">
          <ac:chgData name="Stuart Pearce" userId="6807ee30-3f1f-4d19-bdba-9250cea9983e" providerId="ADAL" clId="{D10B06F5-1C35-4F1D-AD8E-97B53FDDC6AB}" dt="2023-10-03T09:19:21.509" v="564" actId="1037"/>
          <ac:spMkLst>
            <pc:docMk/>
            <pc:sldMk cId="152099157" sldId="2147479640"/>
            <ac:spMk id="7" creationId="{22EBC6DA-9298-8652-CFD2-F5A29DDBEA05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8" creationId="{2ABDB4A5-2B2D-8390-1C2D-DE069ED29E60}"/>
          </ac:spMkLst>
        </pc:spChg>
        <pc:spChg chg="del">
          <ac:chgData name="Stuart Pearce" userId="6807ee30-3f1f-4d19-bdba-9250cea9983e" providerId="ADAL" clId="{D10B06F5-1C35-4F1D-AD8E-97B53FDDC6AB}" dt="2023-10-03T08:28:24.462" v="470" actId="478"/>
          <ac:spMkLst>
            <pc:docMk/>
            <pc:sldMk cId="152099157" sldId="2147479640"/>
            <ac:spMk id="9" creationId="{D21C2DCD-6139-FF12-8CA7-E2EE264A2E60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11" creationId="{9D396362-D683-79C0-4EE3-0D5321A4745B}"/>
          </ac:spMkLst>
        </pc:spChg>
        <pc:spChg chg="del">
          <ac:chgData name="Stuart Pearce" userId="6807ee30-3f1f-4d19-bdba-9250cea9983e" providerId="ADAL" clId="{D10B06F5-1C35-4F1D-AD8E-97B53FDDC6AB}" dt="2023-10-03T08:28:24.462" v="470" actId="478"/>
          <ac:spMkLst>
            <pc:docMk/>
            <pc:sldMk cId="152099157" sldId="2147479640"/>
            <ac:spMk id="15" creationId="{12A794E0-E4F5-2FD9-7574-D2989E3E3E90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16" creationId="{8E7AA8DF-AEED-CC54-4E5E-9FD91A4CF43E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17" creationId="{5933BA13-E108-1F8D-F7F2-0BEB00AA630C}"/>
          </ac:spMkLst>
        </pc:spChg>
        <pc:spChg chg="mod">
          <ac:chgData name="Stuart Pearce" userId="6807ee30-3f1f-4d19-bdba-9250cea9983e" providerId="ADAL" clId="{D10B06F5-1C35-4F1D-AD8E-97B53FDDC6AB}" dt="2023-10-03T09:19:21.509" v="564" actId="1037"/>
          <ac:spMkLst>
            <pc:docMk/>
            <pc:sldMk cId="152099157" sldId="2147479640"/>
            <ac:spMk id="18" creationId="{ADFE4367-6700-6F5A-0FC5-1921429B63F1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20" creationId="{E7553775-47FE-8A55-DF34-014689AABCE1}"/>
          </ac:spMkLst>
        </pc:spChg>
        <pc:spChg chg="del mod">
          <ac:chgData name="Stuart Pearce" userId="6807ee30-3f1f-4d19-bdba-9250cea9983e" providerId="ADAL" clId="{D10B06F5-1C35-4F1D-AD8E-97B53FDDC6AB}" dt="2023-10-03T09:20:46.879" v="672" actId="478"/>
          <ac:spMkLst>
            <pc:docMk/>
            <pc:sldMk cId="152099157" sldId="2147479640"/>
            <ac:spMk id="21" creationId="{CEC2DE0F-3579-F2E0-0F99-C7B20D0B3C6E}"/>
          </ac:spMkLst>
        </pc:spChg>
        <pc:spChg chg="del mod">
          <ac:chgData name="Stuart Pearce" userId="6807ee30-3f1f-4d19-bdba-9250cea9983e" providerId="ADAL" clId="{D10B06F5-1C35-4F1D-AD8E-97B53FDDC6AB}" dt="2023-10-03T09:20:44.952" v="671" actId="478"/>
          <ac:spMkLst>
            <pc:docMk/>
            <pc:sldMk cId="152099157" sldId="2147479640"/>
            <ac:spMk id="22" creationId="{1A82E767-C38D-A01C-4C03-DC135FEDAEE8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24" creationId="{9EA7F773-A5E7-CA89-24E8-33CF12FD9380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25" creationId="{1795C386-2B57-434A-7F3A-733BA0CE57FC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27" creationId="{180C79EE-DDA3-CA7A-4EF7-89C41830AEE3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29" creationId="{0839A718-93FD-1916-8D68-9A27BB2F7DF4}"/>
          </ac:spMkLst>
        </pc:spChg>
        <pc:spChg chg="del">
          <ac:chgData name="Stuart Pearce" userId="6807ee30-3f1f-4d19-bdba-9250cea9983e" providerId="ADAL" clId="{D10B06F5-1C35-4F1D-AD8E-97B53FDDC6AB}" dt="2023-10-03T08:28:39.906" v="472" actId="478"/>
          <ac:spMkLst>
            <pc:docMk/>
            <pc:sldMk cId="152099157" sldId="2147479640"/>
            <ac:spMk id="30" creationId="{F324C0C0-982E-2251-CA88-F9E798AAC61D}"/>
          </ac:spMkLst>
        </pc:spChg>
        <pc:spChg chg="del">
          <ac:chgData name="Stuart Pearce" userId="6807ee30-3f1f-4d19-bdba-9250cea9983e" providerId="ADAL" clId="{D10B06F5-1C35-4F1D-AD8E-97B53FDDC6AB}" dt="2023-10-03T08:28:37.246" v="471" actId="478"/>
          <ac:spMkLst>
            <pc:docMk/>
            <pc:sldMk cId="152099157" sldId="2147479640"/>
            <ac:spMk id="31" creationId="{0A7D35CD-A722-A216-348B-C81B90ACCEBB}"/>
          </ac:spMkLst>
        </pc:spChg>
        <pc:spChg chg="add mod">
          <ac:chgData name="Stuart Pearce" userId="6807ee30-3f1f-4d19-bdba-9250cea9983e" providerId="ADAL" clId="{D10B06F5-1C35-4F1D-AD8E-97B53FDDC6AB}" dt="2023-10-03T10:10:48.740" v="829" actId="14100"/>
          <ac:spMkLst>
            <pc:docMk/>
            <pc:sldMk cId="152099157" sldId="2147479640"/>
            <ac:spMk id="36" creationId="{31BAE203-33D7-8DE9-BBEC-5E009A225EA2}"/>
          </ac:spMkLst>
        </pc:spChg>
        <pc:spChg chg="add mod">
          <ac:chgData name="Stuart Pearce" userId="6807ee30-3f1f-4d19-bdba-9250cea9983e" providerId="ADAL" clId="{D10B06F5-1C35-4F1D-AD8E-97B53FDDC6AB}" dt="2023-10-03T10:08:31.324" v="810" actId="164"/>
          <ac:spMkLst>
            <pc:docMk/>
            <pc:sldMk cId="152099157" sldId="2147479640"/>
            <ac:spMk id="51" creationId="{114DC53B-37FF-6420-8851-86A125804EF4}"/>
          </ac:spMkLst>
        </pc:spChg>
        <pc:spChg chg="add mod">
          <ac:chgData name="Stuart Pearce" userId="6807ee30-3f1f-4d19-bdba-9250cea9983e" providerId="ADAL" clId="{D10B06F5-1C35-4F1D-AD8E-97B53FDDC6AB}" dt="2023-10-03T10:16:02.917" v="869" actId="164"/>
          <ac:spMkLst>
            <pc:docMk/>
            <pc:sldMk cId="152099157" sldId="2147479640"/>
            <ac:spMk id="59" creationId="{0D257341-C797-DA36-F306-C29D37DDB915}"/>
          </ac:spMkLst>
        </pc:spChg>
        <pc:grpChg chg="add mod">
          <ac:chgData name="Stuart Pearce" userId="6807ee30-3f1f-4d19-bdba-9250cea9983e" providerId="ADAL" clId="{D10B06F5-1C35-4F1D-AD8E-97B53FDDC6AB}" dt="2023-10-03T10:10:24.943" v="825" actId="14100"/>
          <ac:grpSpMkLst>
            <pc:docMk/>
            <pc:sldMk cId="152099157" sldId="2147479640"/>
            <ac:grpSpMk id="52" creationId="{A24CE3BC-6B27-DE93-96F5-F3E99A4BC5FF}"/>
          </ac:grpSpMkLst>
        </pc:grpChg>
        <pc:grpChg chg="add mod">
          <ac:chgData name="Stuart Pearce" userId="6807ee30-3f1f-4d19-bdba-9250cea9983e" providerId="ADAL" clId="{D10B06F5-1C35-4F1D-AD8E-97B53FDDC6AB}" dt="2023-10-03T10:16:14.008" v="895" actId="1038"/>
          <ac:grpSpMkLst>
            <pc:docMk/>
            <pc:sldMk cId="152099157" sldId="2147479640"/>
            <ac:grpSpMk id="60" creationId="{CA6EF574-5F12-41CB-3034-94691CEFCE47}"/>
          </ac:grpSpMkLst>
        </pc:grpChg>
        <pc:picChg chg="del">
          <ac:chgData name="Stuart Pearce" userId="6807ee30-3f1f-4d19-bdba-9250cea9983e" providerId="ADAL" clId="{D10B06F5-1C35-4F1D-AD8E-97B53FDDC6AB}" dt="2023-10-03T08:28:37.246" v="471" actId="478"/>
          <ac:picMkLst>
            <pc:docMk/>
            <pc:sldMk cId="152099157" sldId="2147479640"/>
            <ac:picMk id="4" creationId="{42719D2E-4388-2AC5-5359-38986F2159F6}"/>
          </ac:picMkLst>
        </pc:picChg>
        <pc:picChg chg="del">
          <ac:chgData name="Stuart Pearce" userId="6807ee30-3f1f-4d19-bdba-9250cea9983e" providerId="ADAL" clId="{D10B06F5-1C35-4F1D-AD8E-97B53FDDC6AB}" dt="2023-10-03T08:28:37.246" v="471" actId="478"/>
          <ac:picMkLst>
            <pc:docMk/>
            <pc:sldMk cId="152099157" sldId="2147479640"/>
            <ac:picMk id="10" creationId="{F9483DD5-313D-F49F-30DE-60E0D16DA988}"/>
          </ac:picMkLst>
        </pc:picChg>
        <pc:picChg chg="add mod">
          <ac:chgData name="Stuart Pearce" userId="6807ee30-3f1f-4d19-bdba-9250cea9983e" providerId="ADAL" clId="{D10B06F5-1C35-4F1D-AD8E-97B53FDDC6AB}" dt="2023-10-03T09:19:21.509" v="564" actId="1037"/>
          <ac:picMkLst>
            <pc:docMk/>
            <pc:sldMk cId="152099157" sldId="2147479640"/>
            <ac:picMk id="19" creationId="{AFB8483E-8B76-E332-7EB6-4825AAEC89E6}"/>
          </ac:picMkLst>
        </pc:picChg>
        <pc:picChg chg="del">
          <ac:chgData name="Stuart Pearce" userId="6807ee30-3f1f-4d19-bdba-9250cea9983e" providerId="ADAL" clId="{D10B06F5-1C35-4F1D-AD8E-97B53FDDC6AB}" dt="2023-10-03T08:28:37.246" v="471" actId="478"/>
          <ac:picMkLst>
            <pc:docMk/>
            <pc:sldMk cId="152099157" sldId="2147479640"/>
            <ac:picMk id="23" creationId="{9D04467B-0418-5255-2D4A-576C6F77E76F}"/>
          </ac:picMkLst>
        </pc:picChg>
        <pc:picChg chg="del">
          <ac:chgData name="Stuart Pearce" userId="6807ee30-3f1f-4d19-bdba-9250cea9983e" providerId="ADAL" clId="{D10B06F5-1C35-4F1D-AD8E-97B53FDDC6AB}" dt="2023-10-03T08:28:37.246" v="471" actId="478"/>
          <ac:picMkLst>
            <pc:docMk/>
            <pc:sldMk cId="152099157" sldId="2147479640"/>
            <ac:picMk id="26" creationId="{3CCC5B48-E80A-6822-DCB3-D24DB02D20AA}"/>
          </ac:picMkLst>
        </pc:picChg>
        <pc:picChg chg="del">
          <ac:chgData name="Stuart Pearce" userId="6807ee30-3f1f-4d19-bdba-9250cea9983e" providerId="ADAL" clId="{D10B06F5-1C35-4F1D-AD8E-97B53FDDC6AB}" dt="2023-10-03T08:28:37.246" v="471" actId="478"/>
          <ac:picMkLst>
            <pc:docMk/>
            <pc:sldMk cId="152099157" sldId="2147479640"/>
            <ac:picMk id="28" creationId="{3B8FE1BA-2320-2115-0A41-73F01CF6AD1F}"/>
          </ac:picMkLst>
        </pc:picChg>
        <pc:picChg chg="add mod">
          <ac:chgData name="Stuart Pearce" userId="6807ee30-3f1f-4d19-bdba-9250cea9983e" providerId="ADAL" clId="{D10B06F5-1C35-4F1D-AD8E-97B53FDDC6AB}" dt="2023-10-03T09:19:21.509" v="564" actId="1037"/>
          <ac:picMkLst>
            <pc:docMk/>
            <pc:sldMk cId="152099157" sldId="2147479640"/>
            <ac:picMk id="33" creationId="{51720667-9053-4655-ACA8-43F9DEC0572C}"/>
          </ac:picMkLst>
        </pc:picChg>
        <pc:picChg chg="add mod">
          <ac:chgData name="Stuart Pearce" userId="6807ee30-3f1f-4d19-bdba-9250cea9983e" providerId="ADAL" clId="{D10B06F5-1C35-4F1D-AD8E-97B53FDDC6AB}" dt="2023-10-03T09:19:21.509" v="564" actId="1037"/>
          <ac:picMkLst>
            <pc:docMk/>
            <pc:sldMk cId="152099157" sldId="2147479640"/>
            <ac:picMk id="35" creationId="{0DE3ED58-45C9-C492-6E89-ECFA9C9E21DA}"/>
          </ac:picMkLst>
        </pc:picChg>
        <pc:picChg chg="add mod">
          <ac:chgData name="Stuart Pearce" userId="6807ee30-3f1f-4d19-bdba-9250cea9983e" providerId="ADAL" clId="{D10B06F5-1C35-4F1D-AD8E-97B53FDDC6AB}" dt="2023-10-03T09:22:01.966" v="755" actId="14100"/>
          <ac:picMkLst>
            <pc:docMk/>
            <pc:sldMk cId="152099157" sldId="2147479640"/>
            <ac:picMk id="38" creationId="{745EDD84-3A43-BC84-0E34-27E0841D27CB}"/>
          </ac:picMkLst>
        </pc:picChg>
        <pc:picChg chg="add mod">
          <ac:chgData name="Stuart Pearce" userId="6807ee30-3f1f-4d19-bdba-9250cea9983e" providerId="ADAL" clId="{D10B06F5-1C35-4F1D-AD8E-97B53FDDC6AB}" dt="2023-10-03T10:16:14.008" v="895" actId="1038"/>
          <ac:picMkLst>
            <pc:docMk/>
            <pc:sldMk cId="152099157" sldId="2147479640"/>
            <ac:picMk id="40" creationId="{0C4D6BB0-7A1D-2BB6-60BF-3CD8C025C54E}"/>
          </ac:picMkLst>
        </pc:picChg>
        <pc:picChg chg="add mod">
          <ac:chgData name="Stuart Pearce" userId="6807ee30-3f1f-4d19-bdba-9250cea9983e" providerId="ADAL" clId="{D10B06F5-1C35-4F1D-AD8E-97B53FDDC6AB}" dt="2023-10-03T10:10:43.577" v="828" actId="14100"/>
          <ac:picMkLst>
            <pc:docMk/>
            <pc:sldMk cId="152099157" sldId="2147479640"/>
            <ac:picMk id="42" creationId="{725CA2B8-C759-68A3-08A4-6E3D62E2E533}"/>
          </ac:picMkLst>
        </pc:picChg>
        <pc:picChg chg="add mod">
          <ac:chgData name="Stuart Pearce" userId="6807ee30-3f1f-4d19-bdba-9250cea9983e" providerId="ADAL" clId="{D10B06F5-1C35-4F1D-AD8E-97B53FDDC6AB}" dt="2023-10-03T10:08:31.324" v="810" actId="164"/>
          <ac:picMkLst>
            <pc:docMk/>
            <pc:sldMk cId="152099157" sldId="2147479640"/>
            <ac:picMk id="44" creationId="{E154C75A-8F6B-C0FC-E13F-C31203F01F1F}"/>
          </ac:picMkLst>
        </pc:picChg>
        <pc:picChg chg="add mod">
          <ac:chgData name="Stuart Pearce" userId="6807ee30-3f1f-4d19-bdba-9250cea9983e" providerId="ADAL" clId="{D10B06F5-1C35-4F1D-AD8E-97B53FDDC6AB}" dt="2023-10-03T10:07:28.299" v="796" actId="14100"/>
          <ac:picMkLst>
            <pc:docMk/>
            <pc:sldMk cId="152099157" sldId="2147479640"/>
            <ac:picMk id="46" creationId="{D5D78132-21E8-BA97-0104-FF697DC47D2A}"/>
          </ac:picMkLst>
        </pc:picChg>
        <pc:picChg chg="add mod">
          <ac:chgData name="Stuart Pearce" userId="6807ee30-3f1f-4d19-bdba-9250cea9983e" providerId="ADAL" clId="{D10B06F5-1C35-4F1D-AD8E-97B53FDDC6AB}" dt="2023-10-03T10:08:55.140" v="813" actId="14100"/>
          <ac:picMkLst>
            <pc:docMk/>
            <pc:sldMk cId="152099157" sldId="2147479640"/>
            <ac:picMk id="48" creationId="{984684B3-9BF2-5C47-2CB5-38CE53511536}"/>
          </ac:picMkLst>
        </pc:picChg>
        <pc:picChg chg="add mod">
          <ac:chgData name="Stuart Pearce" userId="6807ee30-3f1f-4d19-bdba-9250cea9983e" providerId="ADAL" clId="{D10B06F5-1C35-4F1D-AD8E-97B53FDDC6AB}" dt="2023-10-03T10:10:05.457" v="823" actId="14100"/>
          <ac:picMkLst>
            <pc:docMk/>
            <pc:sldMk cId="152099157" sldId="2147479640"/>
            <ac:picMk id="50" creationId="{893273B8-14F4-731B-9630-1ABF22512C54}"/>
          </ac:picMkLst>
        </pc:picChg>
        <pc:picChg chg="add del mod">
          <ac:chgData name="Stuart Pearce" userId="6807ee30-3f1f-4d19-bdba-9250cea9983e" providerId="ADAL" clId="{D10B06F5-1C35-4F1D-AD8E-97B53FDDC6AB}" dt="2023-10-03T10:14:33.994" v="838" actId="478"/>
          <ac:picMkLst>
            <pc:docMk/>
            <pc:sldMk cId="152099157" sldId="2147479640"/>
            <ac:picMk id="54" creationId="{2EAF2942-C521-B34D-5519-7AF5FCFC308D}"/>
          </ac:picMkLst>
        </pc:picChg>
        <pc:picChg chg="add del mod">
          <ac:chgData name="Stuart Pearce" userId="6807ee30-3f1f-4d19-bdba-9250cea9983e" providerId="ADAL" clId="{D10B06F5-1C35-4F1D-AD8E-97B53FDDC6AB}" dt="2023-10-03T10:14:46.040" v="840"/>
          <ac:picMkLst>
            <pc:docMk/>
            <pc:sldMk cId="152099157" sldId="2147479640"/>
            <ac:picMk id="56" creationId="{01904B30-9B3C-B98C-9F68-DCD3D245378B}"/>
          </ac:picMkLst>
        </pc:picChg>
        <pc:picChg chg="add mod">
          <ac:chgData name="Stuart Pearce" userId="6807ee30-3f1f-4d19-bdba-9250cea9983e" providerId="ADAL" clId="{D10B06F5-1C35-4F1D-AD8E-97B53FDDC6AB}" dt="2023-10-03T10:16:02.917" v="869" actId="164"/>
          <ac:picMkLst>
            <pc:docMk/>
            <pc:sldMk cId="152099157" sldId="2147479640"/>
            <ac:picMk id="58" creationId="{2FF05834-7714-F86B-79CF-AF62D516ED21}"/>
          </ac:picMkLst>
        </pc:picChg>
        <pc:picChg chg="add del mod">
          <ac:chgData name="Stuart Pearce" userId="6807ee30-3f1f-4d19-bdba-9250cea9983e" providerId="ADAL" clId="{D10B06F5-1C35-4F1D-AD8E-97B53FDDC6AB}" dt="2023-10-03T10:36:29.925" v="897"/>
          <ac:picMkLst>
            <pc:docMk/>
            <pc:sldMk cId="152099157" sldId="2147479640"/>
            <ac:picMk id="62" creationId="{32C5E216-2892-3EFC-5AEC-E107D4F93F12}"/>
          </ac:picMkLst>
        </pc:picChg>
      </pc:sldChg>
      <pc:sldChg chg="addSp delSp modSp new add del mod modClrScheme chgLayout">
        <pc:chgData name="Stuart Pearce" userId="6807ee30-3f1f-4d19-bdba-9250cea9983e" providerId="ADAL" clId="{D10B06F5-1C35-4F1D-AD8E-97B53FDDC6AB}" dt="2023-10-03T14:54:59.373" v="4499" actId="2696"/>
        <pc:sldMkLst>
          <pc:docMk/>
          <pc:sldMk cId="166158078" sldId="2147479641"/>
        </pc:sldMkLst>
        <pc:spChg chg="del mod ord">
          <ac:chgData name="Stuart Pearce" userId="6807ee30-3f1f-4d19-bdba-9250cea9983e" providerId="ADAL" clId="{D10B06F5-1C35-4F1D-AD8E-97B53FDDC6AB}" dt="2023-10-03T10:38:09.513" v="916"/>
          <ac:spMkLst>
            <pc:docMk/>
            <pc:sldMk cId="166158078" sldId="2147479641"/>
            <ac:spMk id="2" creationId="{B659C7CA-BC60-6304-FDA2-33F768AA5F3F}"/>
          </ac:spMkLst>
        </pc:spChg>
        <pc:spChg chg="add mod ord">
          <ac:chgData name="Stuart Pearce" userId="6807ee30-3f1f-4d19-bdba-9250cea9983e" providerId="ADAL" clId="{D10B06F5-1C35-4F1D-AD8E-97B53FDDC6AB}" dt="2023-10-03T10:38:48.020" v="946" actId="20577"/>
          <ac:spMkLst>
            <pc:docMk/>
            <pc:sldMk cId="166158078" sldId="2147479641"/>
            <ac:spMk id="3" creationId="{2F0A8978-9C5E-1517-A9BD-E214FB1C0BAB}"/>
          </ac:spMkLst>
        </pc:spChg>
        <pc:spChg chg="add del mod ord">
          <ac:chgData name="Stuart Pearce" userId="6807ee30-3f1f-4d19-bdba-9250cea9983e" providerId="ADAL" clId="{D10B06F5-1C35-4F1D-AD8E-97B53FDDC6AB}" dt="2023-10-03T10:39:45.568" v="951" actId="478"/>
          <ac:spMkLst>
            <pc:docMk/>
            <pc:sldMk cId="166158078" sldId="2147479641"/>
            <ac:spMk id="4" creationId="{6D1BC9D1-6584-1F03-6120-810565E834AE}"/>
          </ac:spMkLst>
        </pc:spChg>
        <pc:spChg chg="add mod ord">
          <ac:chgData name="Stuart Pearce" userId="6807ee30-3f1f-4d19-bdba-9250cea9983e" providerId="ADAL" clId="{D10B06F5-1C35-4F1D-AD8E-97B53FDDC6AB}" dt="2023-10-03T11:11:42.334" v="1217" actId="6549"/>
          <ac:spMkLst>
            <pc:docMk/>
            <pc:sldMk cId="166158078" sldId="2147479641"/>
            <ac:spMk id="5" creationId="{82FDA215-7FA1-89CC-23C2-68D3C1F16CB1}"/>
          </ac:spMkLst>
        </pc:spChg>
        <pc:spChg chg="add mod">
          <ac:chgData name="Stuart Pearce" userId="6807ee30-3f1f-4d19-bdba-9250cea9983e" providerId="ADAL" clId="{D10B06F5-1C35-4F1D-AD8E-97B53FDDC6AB}" dt="2023-10-03T11:11:13.762" v="1202" actId="21"/>
          <ac:spMkLst>
            <pc:docMk/>
            <pc:sldMk cId="166158078" sldId="2147479641"/>
            <ac:spMk id="7" creationId="{684E9E74-D4DB-014C-D034-C2B0CFDE5651}"/>
          </ac:spMkLst>
        </pc:spChg>
        <pc:picChg chg="add mod">
          <ac:chgData name="Stuart Pearce" userId="6807ee30-3f1f-4d19-bdba-9250cea9983e" providerId="ADAL" clId="{D10B06F5-1C35-4F1D-AD8E-97B53FDDC6AB}" dt="2023-10-03T11:11:20.114" v="1205" actId="1076"/>
          <ac:picMkLst>
            <pc:docMk/>
            <pc:sldMk cId="166158078" sldId="2147479641"/>
            <ac:picMk id="6" creationId="{4DCE801B-DD0B-3708-B2EB-0E615605D313}"/>
          </ac:picMkLst>
        </pc:picChg>
      </pc:sldChg>
      <pc:sldChg chg="addSp delSp modSp new add mod">
        <pc:chgData name="Stuart Pearce" userId="6807ee30-3f1f-4d19-bdba-9250cea9983e" providerId="ADAL" clId="{D10B06F5-1C35-4F1D-AD8E-97B53FDDC6AB}" dt="2023-10-03T14:54:50.324" v="4498" actId="20577"/>
        <pc:sldMkLst>
          <pc:docMk/>
          <pc:sldMk cId="4139962345" sldId="2147479642"/>
        </pc:sldMkLst>
        <pc:spChg chg="mod">
          <ac:chgData name="Stuart Pearce" userId="6807ee30-3f1f-4d19-bdba-9250cea9983e" providerId="ADAL" clId="{D10B06F5-1C35-4F1D-AD8E-97B53FDDC6AB}" dt="2023-10-03T10:46:43.504" v="1116" actId="6549"/>
          <ac:spMkLst>
            <pc:docMk/>
            <pc:sldMk cId="4139962345" sldId="2147479642"/>
            <ac:spMk id="2" creationId="{21A13F59-A427-A231-6625-003B58E11468}"/>
          </ac:spMkLst>
        </pc:spChg>
        <pc:spChg chg="del">
          <ac:chgData name="Stuart Pearce" userId="6807ee30-3f1f-4d19-bdba-9250cea9983e" providerId="ADAL" clId="{D10B06F5-1C35-4F1D-AD8E-97B53FDDC6AB}" dt="2023-10-03T10:46:23.614" v="1076" actId="3680"/>
          <ac:spMkLst>
            <pc:docMk/>
            <pc:sldMk cId="4139962345" sldId="2147479642"/>
            <ac:spMk id="4" creationId="{54A37622-BD17-EC75-1BA0-592A2464370D}"/>
          </ac:spMkLst>
        </pc:spChg>
        <pc:spChg chg="mod">
          <ac:chgData name="Stuart Pearce" userId="6807ee30-3f1f-4d19-bdba-9250cea9983e" providerId="ADAL" clId="{D10B06F5-1C35-4F1D-AD8E-97B53FDDC6AB}" dt="2023-10-03T14:54:50.324" v="4498" actId="20577"/>
          <ac:spMkLst>
            <pc:docMk/>
            <pc:sldMk cId="4139962345" sldId="2147479642"/>
            <ac:spMk id="5" creationId="{9B5B30A8-BD98-60B2-27C9-5463899A33D2}"/>
          </ac:spMkLst>
        </pc:spChg>
        <pc:spChg chg="add del mod">
          <ac:chgData name="Stuart Pearce" userId="6807ee30-3f1f-4d19-bdba-9250cea9983e" providerId="ADAL" clId="{D10B06F5-1C35-4F1D-AD8E-97B53FDDC6AB}" dt="2023-10-03T10:51:46.661" v="1129" actId="478"/>
          <ac:spMkLst>
            <pc:docMk/>
            <pc:sldMk cId="4139962345" sldId="2147479642"/>
            <ac:spMk id="8" creationId="{8EFD8524-CF3E-7640-C7FC-2268F8F1E595}"/>
          </ac:spMkLst>
        </pc:spChg>
        <pc:graphicFrameChg chg="add del mod ord modGraphic">
          <ac:chgData name="Stuart Pearce" userId="6807ee30-3f1f-4d19-bdba-9250cea9983e" providerId="ADAL" clId="{D10B06F5-1C35-4F1D-AD8E-97B53FDDC6AB}" dt="2023-10-03T10:49:30.938" v="1121" actId="478"/>
          <ac:graphicFrameMkLst>
            <pc:docMk/>
            <pc:sldMk cId="4139962345" sldId="2147479642"/>
            <ac:graphicFrameMk id="6" creationId="{70C9E95F-7FC4-2DAE-6874-7A3F4EE41FF6}"/>
          </ac:graphicFrameMkLst>
        </pc:graphicFrameChg>
        <pc:graphicFrameChg chg="add mod modGraphic">
          <ac:chgData name="Stuart Pearce" userId="6807ee30-3f1f-4d19-bdba-9250cea9983e" providerId="ADAL" clId="{D10B06F5-1C35-4F1D-AD8E-97B53FDDC6AB}" dt="2023-10-03T10:59:58.529" v="1187" actId="20577"/>
          <ac:graphicFrameMkLst>
            <pc:docMk/>
            <pc:sldMk cId="4139962345" sldId="2147479642"/>
            <ac:graphicFrameMk id="9" creationId="{1FBF3F0C-035B-4AEA-8DB7-60969C8AADAA}"/>
          </ac:graphicFrameMkLst>
        </pc:graphicFrameChg>
        <pc:graphicFrameChg chg="add mod modGraphic">
          <ac:chgData name="Stuart Pearce" userId="6807ee30-3f1f-4d19-bdba-9250cea9983e" providerId="ADAL" clId="{D10B06F5-1C35-4F1D-AD8E-97B53FDDC6AB}" dt="2023-10-03T11:00:23.627" v="1200" actId="20577"/>
          <ac:graphicFrameMkLst>
            <pc:docMk/>
            <pc:sldMk cId="4139962345" sldId="2147479642"/>
            <ac:graphicFrameMk id="10" creationId="{963BE7BE-7FF5-2092-B5A3-6B92B7F0672C}"/>
          </ac:graphicFrameMkLst>
        </pc:graphicFrameChg>
      </pc:sldChg>
      <pc:sldChg chg="addSp delSp modSp new add mod modClrScheme chgLayout">
        <pc:chgData name="Stuart Pearce" userId="6807ee30-3f1f-4d19-bdba-9250cea9983e" providerId="ADAL" clId="{D10B06F5-1C35-4F1D-AD8E-97B53FDDC6AB}" dt="2023-10-03T11:37:00.770" v="2675" actId="20577"/>
        <pc:sldMkLst>
          <pc:docMk/>
          <pc:sldMk cId="3836714402" sldId="2147479643"/>
        </pc:sldMkLst>
        <pc:spChg chg="del mod ord">
          <ac:chgData name="Stuart Pearce" userId="6807ee30-3f1f-4d19-bdba-9250cea9983e" providerId="ADAL" clId="{D10B06F5-1C35-4F1D-AD8E-97B53FDDC6AB}" dt="2023-10-03T11:19:19.143" v="1389"/>
          <ac:spMkLst>
            <pc:docMk/>
            <pc:sldMk cId="3836714402" sldId="2147479643"/>
            <ac:spMk id="2" creationId="{0258AABF-8114-96C2-0E1F-6D6A78BA61B6}"/>
          </ac:spMkLst>
        </pc:spChg>
        <pc:spChg chg="add mod ord">
          <ac:chgData name="Stuart Pearce" userId="6807ee30-3f1f-4d19-bdba-9250cea9983e" providerId="ADAL" clId="{D10B06F5-1C35-4F1D-AD8E-97B53FDDC6AB}" dt="2023-10-03T11:19:37.441" v="1417" actId="20577"/>
          <ac:spMkLst>
            <pc:docMk/>
            <pc:sldMk cId="3836714402" sldId="2147479643"/>
            <ac:spMk id="3" creationId="{E856B406-A69D-01D5-730C-8E6DADF82785}"/>
          </ac:spMkLst>
        </pc:spChg>
        <pc:spChg chg="add del mod ord">
          <ac:chgData name="Stuart Pearce" userId="6807ee30-3f1f-4d19-bdba-9250cea9983e" providerId="ADAL" clId="{D10B06F5-1C35-4F1D-AD8E-97B53FDDC6AB}" dt="2023-10-03T11:24:37.992" v="1471" actId="3680"/>
          <ac:spMkLst>
            <pc:docMk/>
            <pc:sldMk cId="3836714402" sldId="2147479643"/>
            <ac:spMk id="4" creationId="{0CEEEC50-CC19-7166-C61C-5B5897298215}"/>
          </ac:spMkLst>
        </pc:spChg>
        <pc:spChg chg="add mod ord">
          <ac:chgData name="Stuart Pearce" userId="6807ee30-3f1f-4d19-bdba-9250cea9983e" providerId="ADAL" clId="{D10B06F5-1C35-4F1D-AD8E-97B53FDDC6AB}" dt="2023-10-03T11:20:15.034" v="1470" actId="20577"/>
          <ac:spMkLst>
            <pc:docMk/>
            <pc:sldMk cId="3836714402" sldId="2147479643"/>
            <ac:spMk id="5" creationId="{5CFB94AA-1B66-D534-F569-DBE9F93FEF92}"/>
          </ac:spMkLst>
        </pc:spChg>
        <pc:graphicFrameChg chg="add mod ord modGraphic">
          <ac:chgData name="Stuart Pearce" userId="6807ee30-3f1f-4d19-bdba-9250cea9983e" providerId="ADAL" clId="{D10B06F5-1C35-4F1D-AD8E-97B53FDDC6AB}" dt="2023-10-03T11:37:00.770" v="2675" actId="20577"/>
          <ac:graphicFrameMkLst>
            <pc:docMk/>
            <pc:sldMk cId="3836714402" sldId="2147479643"/>
            <ac:graphicFrameMk id="6" creationId="{D6349969-8011-AAA1-963E-891ABB1C2F64}"/>
          </ac:graphicFrameMkLst>
        </pc:graphicFrameChg>
      </pc:sldChg>
      <pc:sldChg chg="modSp add mod ord">
        <pc:chgData name="Stuart Pearce" userId="6807ee30-3f1f-4d19-bdba-9250cea9983e" providerId="ADAL" clId="{D10B06F5-1C35-4F1D-AD8E-97B53FDDC6AB}" dt="2023-10-03T14:31:27.972" v="3980" actId="20577"/>
        <pc:sldMkLst>
          <pc:docMk/>
          <pc:sldMk cId="4093244944" sldId="2147479644"/>
        </pc:sldMkLst>
        <pc:spChg chg="mod">
          <ac:chgData name="Stuart Pearce" userId="6807ee30-3f1f-4d19-bdba-9250cea9983e" providerId="ADAL" clId="{D10B06F5-1C35-4F1D-AD8E-97B53FDDC6AB}" dt="2023-10-03T14:04:40.038" v="3395" actId="14100"/>
          <ac:spMkLst>
            <pc:docMk/>
            <pc:sldMk cId="4093244944" sldId="2147479644"/>
            <ac:spMk id="3" creationId="{5ED6C8A5-FD0C-E265-84A2-47E65A1B8275}"/>
          </ac:spMkLst>
        </pc:spChg>
        <pc:spChg chg="mod">
          <ac:chgData name="Stuart Pearce" userId="6807ee30-3f1f-4d19-bdba-9250cea9983e" providerId="ADAL" clId="{D10B06F5-1C35-4F1D-AD8E-97B53FDDC6AB}" dt="2023-10-03T13:59:00.131" v="3068" actId="20577"/>
          <ac:spMkLst>
            <pc:docMk/>
            <pc:sldMk cId="4093244944" sldId="2147479644"/>
            <ac:spMk id="4" creationId="{88200F8F-B90B-3AEF-EC9E-717DBEFBACD6}"/>
          </ac:spMkLst>
        </pc:spChg>
        <pc:spChg chg="mod">
          <ac:chgData name="Stuart Pearce" userId="6807ee30-3f1f-4d19-bdba-9250cea9983e" providerId="ADAL" clId="{D10B06F5-1C35-4F1D-AD8E-97B53FDDC6AB}" dt="2023-10-03T13:49:27.125" v="2707" actId="20577"/>
          <ac:spMkLst>
            <pc:docMk/>
            <pc:sldMk cId="4093244944" sldId="2147479644"/>
            <ac:spMk id="7" creationId="{485FD7B2-FB92-815C-45F0-FCCA05431D19}"/>
          </ac:spMkLst>
        </pc:spChg>
        <pc:spChg chg="mod">
          <ac:chgData name="Stuart Pearce" userId="6807ee30-3f1f-4d19-bdba-9250cea9983e" providerId="ADAL" clId="{D10B06F5-1C35-4F1D-AD8E-97B53FDDC6AB}" dt="2023-10-03T13:56:08.428" v="2888" actId="20577"/>
          <ac:spMkLst>
            <pc:docMk/>
            <pc:sldMk cId="4093244944" sldId="2147479644"/>
            <ac:spMk id="8" creationId="{6412EBE6-B8E1-E426-8024-4B16322734CD}"/>
          </ac:spMkLst>
        </pc:spChg>
        <pc:spChg chg="mod">
          <ac:chgData name="Stuart Pearce" userId="6807ee30-3f1f-4d19-bdba-9250cea9983e" providerId="ADAL" clId="{D10B06F5-1C35-4F1D-AD8E-97B53FDDC6AB}" dt="2023-10-03T14:04:40.038" v="3395" actId="14100"/>
          <ac:spMkLst>
            <pc:docMk/>
            <pc:sldMk cId="4093244944" sldId="2147479644"/>
            <ac:spMk id="10" creationId="{1B7BBC78-63BD-CFE6-3ABA-CA188488139E}"/>
          </ac:spMkLst>
        </pc:spChg>
        <pc:spChg chg="mod">
          <ac:chgData name="Stuart Pearce" userId="6807ee30-3f1f-4d19-bdba-9250cea9983e" providerId="ADAL" clId="{D10B06F5-1C35-4F1D-AD8E-97B53FDDC6AB}" dt="2023-10-03T14:04:40.038" v="3395" actId="14100"/>
          <ac:spMkLst>
            <pc:docMk/>
            <pc:sldMk cId="4093244944" sldId="2147479644"/>
            <ac:spMk id="14" creationId="{574D6408-7C1E-0CC6-E2A9-97388C2DB56D}"/>
          </ac:spMkLst>
        </pc:spChg>
        <pc:spChg chg="mod">
          <ac:chgData name="Stuart Pearce" userId="6807ee30-3f1f-4d19-bdba-9250cea9983e" providerId="ADAL" clId="{D10B06F5-1C35-4F1D-AD8E-97B53FDDC6AB}" dt="2023-10-03T14:31:27.972" v="3980" actId="20577"/>
          <ac:spMkLst>
            <pc:docMk/>
            <pc:sldMk cId="4093244944" sldId="2147479644"/>
            <ac:spMk id="15" creationId="{C7CA8496-7428-E4EB-A26F-453ACE00D543}"/>
          </ac:spMkLst>
        </pc:spChg>
      </pc:sldChg>
      <pc:sldChg chg="addSp modSp new add mod">
        <pc:chgData name="Stuart Pearce" userId="6807ee30-3f1f-4d19-bdba-9250cea9983e" providerId="ADAL" clId="{D10B06F5-1C35-4F1D-AD8E-97B53FDDC6AB}" dt="2023-10-03T14:03:45.730" v="3358" actId="1076"/>
        <pc:sldMkLst>
          <pc:docMk/>
          <pc:sldMk cId="2354755238" sldId="2147479645"/>
        </pc:sldMkLst>
        <pc:spChg chg="mod">
          <ac:chgData name="Stuart Pearce" userId="6807ee30-3f1f-4d19-bdba-9250cea9983e" providerId="ADAL" clId="{D10B06F5-1C35-4F1D-AD8E-97B53FDDC6AB}" dt="2023-10-03T14:02:52.188" v="3273" actId="20577"/>
          <ac:spMkLst>
            <pc:docMk/>
            <pc:sldMk cId="2354755238" sldId="2147479645"/>
            <ac:spMk id="2" creationId="{FC9E9601-CE94-B978-1823-95313A397902}"/>
          </ac:spMkLst>
        </pc:spChg>
        <pc:spChg chg="add mod">
          <ac:chgData name="Stuart Pearce" userId="6807ee30-3f1f-4d19-bdba-9250cea9983e" providerId="ADAL" clId="{D10B06F5-1C35-4F1D-AD8E-97B53FDDC6AB}" dt="2023-10-03T14:03:45.730" v="3358" actId="1076"/>
          <ac:spMkLst>
            <pc:docMk/>
            <pc:sldMk cId="2354755238" sldId="2147479645"/>
            <ac:spMk id="5" creationId="{3DC6C90B-8073-003B-DE2C-EBBE1C2ADF5E}"/>
          </ac:spMkLst>
        </pc:spChg>
      </pc:sldChg>
      <pc:sldChg chg="addSp delSp modSp new add mod modClrScheme chgLayout">
        <pc:chgData name="Stuart Pearce" userId="6807ee30-3f1f-4d19-bdba-9250cea9983e" providerId="ADAL" clId="{D10B06F5-1C35-4F1D-AD8E-97B53FDDC6AB}" dt="2023-10-03T14:31:47.147" v="3982"/>
        <pc:sldMkLst>
          <pc:docMk/>
          <pc:sldMk cId="3108597785" sldId="2147479646"/>
        </pc:sldMkLst>
        <pc:spChg chg="del mod ord">
          <ac:chgData name="Stuart Pearce" userId="6807ee30-3f1f-4d19-bdba-9250cea9983e" providerId="ADAL" clId="{D10B06F5-1C35-4F1D-AD8E-97B53FDDC6AB}" dt="2023-10-03T14:06:21.398" v="3399"/>
          <ac:spMkLst>
            <pc:docMk/>
            <pc:sldMk cId="3108597785" sldId="2147479646"/>
            <ac:spMk id="2" creationId="{F2CB715A-E27C-0218-4050-01F7B6339C67}"/>
          </ac:spMkLst>
        </pc:spChg>
        <pc:spChg chg="add mod ord">
          <ac:chgData name="Stuart Pearce" userId="6807ee30-3f1f-4d19-bdba-9250cea9983e" providerId="ADAL" clId="{D10B06F5-1C35-4F1D-AD8E-97B53FDDC6AB}" dt="2023-10-03T14:31:47.147" v="3982"/>
          <ac:spMkLst>
            <pc:docMk/>
            <pc:sldMk cId="3108597785" sldId="2147479646"/>
            <ac:spMk id="3" creationId="{8DBC96DA-1EF6-247B-3C13-952820713516}"/>
          </ac:spMkLst>
        </pc:spChg>
        <pc:spChg chg="add del mod ord">
          <ac:chgData name="Stuart Pearce" userId="6807ee30-3f1f-4d19-bdba-9250cea9983e" providerId="ADAL" clId="{D10B06F5-1C35-4F1D-AD8E-97B53FDDC6AB}" dt="2023-10-03T14:10:31.847" v="3612" actId="26606"/>
          <ac:spMkLst>
            <pc:docMk/>
            <pc:sldMk cId="3108597785" sldId="2147479646"/>
            <ac:spMk id="4" creationId="{48FA813E-2F3E-D45D-084E-7E34B0E6351E}"/>
          </ac:spMkLst>
        </pc:spChg>
        <pc:spChg chg="add del mod ord">
          <ac:chgData name="Stuart Pearce" userId="6807ee30-3f1f-4d19-bdba-9250cea9983e" providerId="ADAL" clId="{D10B06F5-1C35-4F1D-AD8E-97B53FDDC6AB}" dt="2023-10-03T14:10:31.847" v="3612" actId="26606"/>
          <ac:spMkLst>
            <pc:docMk/>
            <pc:sldMk cId="3108597785" sldId="2147479646"/>
            <ac:spMk id="5" creationId="{32F9F172-098B-1DEF-8674-FF1471C81471}"/>
          </ac:spMkLst>
        </pc:spChg>
        <pc:spChg chg="add del mod ord">
          <ac:chgData name="Stuart Pearce" userId="6807ee30-3f1f-4d19-bdba-9250cea9983e" providerId="ADAL" clId="{D10B06F5-1C35-4F1D-AD8E-97B53FDDC6AB}" dt="2023-10-03T14:12:31.507" v="3686" actId="478"/>
          <ac:spMkLst>
            <pc:docMk/>
            <pc:sldMk cId="3108597785" sldId="2147479646"/>
            <ac:spMk id="6" creationId="{E295D3F1-91E6-D55A-34AD-7276E3301C95}"/>
          </ac:spMkLst>
        </pc:spChg>
        <pc:spChg chg="add del mod">
          <ac:chgData name="Stuart Pearce" userId="6807ee30-3f1f-4d19-bdba-9250cea9983e" providerId="ADAL" clId="{D10B06F5-1C35-4F1D-AD8E-97B53FDDC6AB}" dt="2023-10-03T14:13:05.682" v="3851" actId="478"/>
          <ac:spMkLst>
            <pc:docMk/>
            <pc:sldMk cId="3108597785" sldId="2147479646"/>
            <ac:spMk id="10" creationId="{13E25951-748F-8290-FCE7-B3678630EAF9}"/>
          </ac:spMkLst>
        </pc:spChg>
        <pc:spChg chg="add mod ord">
          <ac:chgData name="Stuart Pearce" userId="6807ee30-3f1f-4d19-bdba-9250cea9983e" providerId="ADAL" clId="{D10B06F5-1C35-4F1D-AD8E-97B53FDDC6AB}" dt="2023-10-03T14:31:47.147" v="3982"/>
          <ac:spMkLst>
            <pc:docMk/>
            <pc:sldMk cId="3108597785" sldId="2147479646"/>
            <ac:spMk id="11" creationId="{C2516189-6BC6-005A-8654-375BB0E08935}"/>
          </ac:spMkLst>
        </pc:spChg>
        <pc:spChg chg="add del mod">
          <ac:chgData name="Stuart Pearce" userId="6807ee30-3f1f-4d19-bdba-9250cea9983e" providerId="ADAL" clId="{D10B06F5-1C35-4F1D-AD8E-97B53FDDC6AB}" dt="2023-10-03T14:10:52.497" v="3618" actId="26606"/>
          <ac:spMkLst>
            <pc:docMk/>
            <pc:sldMk cId="3108597785" sldId="2147479646"/>
            <ac:spMk id="12" creationId="{C7A1382B-5B4E-B8B6-7D4B-0A96CCC5DCF9}"/>
          </ac:spMkLst>
        </pc:spChg>
        <pc:spChg chg="add mod ord">
          <ac:chgData name="Stuart Pearce" userId="6807ee30-3f1f-4d19-bdba-9250cea9983e" providerId="ADAL" clId="{D10B06F5-1C35-4F1D-AD8E-97B53FDDC6AB}" dt="2023-10-03T14:31:47.147" v="3982"/>
          <ac:spMkLst>
            <pc:docMk/>
            <pc:sldMk cId="3108597785" sldId="2147479646"/>
            <ac:spMk id="13" creationId="{9B152943-AA82-BABC-C8E0-0ACB1AEB088C}"/>
          </ac:spMkLst>
        </pc:spChg>
        <pc:spChg chg="add del mod">
          <ac:chgData name="Stuart Pearce" userId="6807ee30-3f1f-4d19-bdba-9250cea9983e" providerId="ADAL" clId="{D10B06F5-1C35-4F1D-AD8E-97B53FDDC6AB}" dt="2023-10-03T14:10:52.497" v="3618" actId="26606"/>
          <ac:spMkLst>
            <pc:docMk/>
            <pc:sldMk cId="3108597785" sldId="2147479646"/>
            <ac:spMk id="14" creationId="{53D6B167-3F5B-C0C9-40A3-39EC79D9FA35}"/>
          </ac:spMkLst>
        </pc:spChg>
        <pc:spChg chg="add mod ord">
          <ac:chgData name="Stuart Pearce" userId="6807ee30-3f1f-4d19-bdba-9250cea9983e" providerId="ADAL" clId="{D10B06F5-1C35-4F1D-AD8E-97B53FDDC6AB}" dt="2023-10-03T14:31:47.147" v="3982"/>
          <ac:spMkLst>
            <pc:docMk/>
            <pc:sldMk cId="3108597785" sldId="2147479646"/>
            <ac:spMk id="19" creationId="{22F26F7C-2373-663E-4AE2-71F942DC1618}"/>
          </ac:spMkLst>
        </pc:spChg>
        <pc:spChg chg="add del mod ord">
          <ac:chgData name="Stuart Pearce" userId="6807ee30-3f1f-4d19-bdba-9250cea9983e" providerId="ADAL" clId="{D10B06F5-1C35-4F1D-AD8E-97B53FDDC6AB}" dt="2023-10-03T14:31:47.147" v="3982"/>
          <ac:spMkLst>
            <pc:docMk/>
            <pc:sldMk cId="3108597785" sldId="2147479646"/>
            <ac:spMk id="21" creationId="{56BC7E8B-043D-8DFB-F89B-7F03E25C93E7}"/>
          </ac:spMkLst>
        </pc:spChg>
        <pc:graphicFrameChg chg="add mod">
          <ac:chgData name="Stuart Pearce" userId="6807ee30-3f1f-4d19-bdba-9250cea9983e" providerId="ADAL" clId="{D10B06F5-1C35-4F1D-AD8E-97B53FDDC6AB}" dt="2023-10-03T14:14:43.893" v="3860" actId="14100"/>
          <ac:graphicFrameMkLst>
            <pc:docMk/>
            <pc:sldMk cId="3108597785" sldId="2147479646"/>
            <ac:graphicFrameMk id="7" creationId="{5FEA783F-55E3-B1E7-E1AF-FD8C000CB836}"/>
          </ac:graphicFrameMkLst>
        </pc:graphicFrameChg>
        <pc:graphicFrameChg chg="add mod ord modGraphic">
          <ac:chgData name="Stuart Pearce" userId="6807ee30-3f1f-4d19-bdba-9250cea9983e" providerId="ADAL" clId="{D10B06F5-1C35-4F1D-AD8E-97B53FDDC6AB}" dt="2023-10-03T14:31:47.147" v="3982"/>
          <ac:graphicFrameMkLst>
            <pc:docMk/>
            <pc:sldMk cId="3108597785" sldId="2147479646"/>
            <ac:graphicFrameMk id="8" creationId="{4C7894C7-9609-6172-8F08-D52CB2A7B209}"/>
          </ac:graphicFrameMkLst>
        </pc:graphicFrameChg>
      </pc:sldChg>
      <pc:sldChg chg="modSp add mod ord">
        <pc:chgData name="Stuart Pearce" userId="6807ee30-3f1f-4d19-bdba-9250cea9983e" providerId="ADAL" clId="{D10B06F5-1C35-4F1D-AD8E-97B53FDDC6AB}" dt="2023-10-03T14:27:34.213" v="3924" actId="6549"/>
        <pc:sldMkLst>
          <pc:docMk/>
          <pc:sldMk cId="504367098" sldId="2147479647"/>
        </pc:sldMkLst>
        <pc:spChg chg="mod">
          <ac:chgData name="Stuart Pearce" userId="6807ee30-3f1f-4d19-bdba-9250cea9983e" providerId="ADAL" clId="{D10B06F5-1C35-4F1D-AD8E-97B53FDDC6AB}" dt="2023-10-03T14:24:38.652" v="3879" actId="20577"/>
          <ac:spMkLst>
            <pc:docMk/>
            <pc:sldMk cId="504367098" sldId="2147479647"/>
            <ac:spMk id="3" creationId="{E856B406-A69D-01D5-730C-8E6DADF82785}"/>
          </ac:spMkLst>
        </pc:spChg>
        <pc:spChg chg="mod">
          <ac:chgData name="Stuart Pearce" userId="6807ee30-3f1f-4d19-bdba-9250cea9983e" providerId="ADAL" clId="{D10B06F5-1C35-4F1D-AD8E-97B53FDDC6AB}" dt="2023-10-03T14:25:08.933" v="3905" actId="20577"/>
          <ac:spMkLst>
            <pc:docMk/>
            <pc:sldMk cId="504367098" sldId="2147479647"/>
            <ac:spMk id="5" creationId="{5CFB94AA-1B66-D534-F569-DBE9F93FEF92}"/>
          </ac:spMkLst>
        </pc:spChg>
        <pc:graphicFrameChg chg="mod modGraphic">
          <ac:chgData name="Stuart Pearce" userId="6807ee30-3f1f-4d19-bdba-9250cea9983e" providerId="ADAL" clId="{D10B06F5-1C35-4F1D-AD8E-97B53FDDC6AB}" dt="2023-10-03T14:27:34.213" v="3924" actId="6549"/>
          <ac:graphicFrameMkLst>
            <pc:docMk/>
            <pc:sldMk cId="504367098" sldId="2147479647"/>
            <ac:graphicFrameMk id="6" creationId="{D6349969-8011-AAA1-963E-891ABB1C2F64}"/>
          </ac:graphicFrameMkLst>
        </pc:graphicFrameChg>
      </pc:sldChg>
      <pc:sldMasterChg chg="delSldLayout">
        <pc:chgData name="Stuart Pearce" userId="6807ee30-3f1f-4d19-bdba-9250cea9983e" providerId="ADAL" clId="{D10B06F5-1C35-4F1D-AD8E-97B53FDDC6AB}" dt="2023-10-03T11:11:54.070" v="1218" actId="2696"/>
        <pc:sldMasterMkLst>
          <pc:docMk/>
          <pc:sldMasterMk cId="2289245655" sldId="2147483896"/>
        </pc:sldMasterMkLst>
        <pc:sldLayoutChg chg="del">
          <pc:chgData name="Stuart Pearce" userId="6807ee30-3f1f-4d19-bdba-9250cea9983e" providerId="ADAL" clId="{D10B06F5-1C35-4F1D-AD8E-97B53FDDC6AB}" dt="2023-10-03T11:11:54.070" v="1218" actId="2696"/>
          <pc:sldLayoutMkLst>
            <pc:docMk/>
            <pc:sldMasterMk cId="2289245655" sldId="2147483896"/>
            <pc:sldLayoutMk cId="318936535" sldId="2147483921"/>
          </pc:sldLayoutMkLst>
        </pc:sldLayoutChg>
        <pc:sldLayoutChg chg="del">
          <pc:chgData name="Stuart Pearce" userId="6807ee30-3f1f-4d19-bdba-9250cea9983e" providerId="ADAL" clId="{D10B06F5-1C35-4F1D-AD8E-97B53FDDC6AB}" dt="2023-10-03T11:11:54.070" v="1218" actId="2696"/>
          <pc:sldLayoutMkLst>
            <pc:docMk/>
            <pc:sldMasterMk cId="2289245655" sldId="2147483896"/>
            <pc:sldLayoutMk cId="1287962668" sldId="2147483922"/>
          </pc:sldLayoutMkLst>
        </pc:sldLayoutChg>
      </pc:sldMasterChg>
    </pc:docChg>
  </pc:docChgLst>
  <pc:docChgLst>
    <pc:chgData name="Srivaths Swaminathan" userId="S::srivaths.swaminathan@hgcapital.com::fab820a8-d04c-4fb7-bc62-495e227921e9" providerId="AD" clId="Web-{4DBDAD7C-263E-180E-4BC3-FBB4938A3309}"/>
    <pc:docChg chg="mod addSld delSld modSld">
      <pc:chgData name="Srivaths Swaminathan" userId="S::srivaths.swaminathan@hgcapital.com::fab820a8-d04c-4fb7-bc62-495e227921e9" providerId="AD" clId="Web-{4DBDAD7C-263E-180E-4BC3-FBB4938A3309}" dt="2023-08-18T13:54:56.679" v="353" actId="14100"/>
      <pc:docMkLst>
        <pc:docMk/>
      </pc:docMkLst>
      <pc:sldChg chg="addSp delSp modSp">
        <pc:chgData name="Srivaths Swaminathan" userId="S::srivaths.swaminathan@hgcapital.com::fab820a8-d04c-4fb7-bc62-495e227921e9" providerId="AD" clId="Web-{4DBDAD7C-263E-180E-4BC3-FBB4938A3309}" dt="2023-08-18T13:24:06.280" v="59"/>
        <pc:sldMkLst>
          <pc:docMk/>
          <pc:sldMk cId="82188278" sldId="299"/>
        </pc:sldMkLst>
        <pc:spChg chg="add del mod">
          <ac:chgData name="Srivaths Swaminathan" userId="S::srivaths.swaminathan@hgcapital.com::fab820a8-d04c-4fb7-bc62-495e227921e9" providerId="AD" clId="Web-{4DBDAD7C-263E-180E-4BC3-FBB4938A3309}" dt="2023-08-18T13:24:06.280" v="59"/>
          <ac:spMkLst>
            <pc:docMk/>
            <pc:sldMk cId="82188278" sldId="299"/>
            <ac:spMk id="4" creationId="{6FAF3434-E85B-269E-FDF8-2365E0382825}"/>
          </ac:spMkLst>
        </pc:spChg>
      </pc:sldChg>
      <pc:sldChg chg="modSp">
        <pc:chgData name="Srivaths Swaminathan" userId="S::srivaths.swaminathan@hgcapital.com::fab820a8-d04c-4fb7-bc62-495e227921e9" providerId="AD" clId="Web-{4DBDAD7C-263E-180E-4BC3-FBB4938A3309}" dt="2023-08-18T13:34:14.105" v="209" actId="14100"/>
        <pc:sldMkLst>
          <pc:docMk/>
          <pc:sldMk cId="1485362133" sldId="2147479563"/>
        </pc:sldMkLst>
        <pc:spChg chg="mod">
          <ac:chgData name="Srivaths Swaminathan" userId="S::srivaths.swaminathan@hgcapital.com::fab820a8-d04c-4fb7-bc62-495e227921e9" providerId="AD" clId="Web-{4DBDAD7C-263E-180E-4BC3-FBB4938A3309}" dt="2023-08-18T13:34:14.105" v="209" actId="14100"/>
          <ac:spMkLst>
            <pc:docMk/>
            <pc:sldMk cId="1485362133" sldId="2147479563"/>
            <ac:spMk id="2" creationId="{A0A539C7-696A-7DF3-6837-C3696F000047}"/>
          </ac:spMkLst>
        </pc:spChg>
      </pc:sldChg>
      <pc:sldChg chg="addSp delSp modSp">
        <pc:chgData name="Srivaths Swaminathan" userId="S::srivaths.swaminathan@hgcapital.com::fab820a8-d04c-4fb7-bc62-495e227921e9" providerId="AD" clId="Web-{4DBDAD7C-263E-180E-4BC3-FBB4938A3309}" dt="2023-08-18T13:54:56.679" v="353" actId="14100"/>
        <pc:sldMkLst>
          <pc:docMk/>
          <pc:sldMk cId="4010332852" sldId="2147479604"/>
        </pc:sldMkLst>
        <pc:spChg chg="del mod">
          <ac:chgData name="Srivaths Swaminathan" userId="S::srivaths.swaminathan@hgcapital.com::fab820a8-d04c-4fb7-bc62-495e227921e9" providerId="AD" clId="Web-{4DBDAD7C-263E-180E-4BC3-FBB4938A3309}" dt="2023-08-18T13:46:50.809" v="266"/>
          <ac:spMkLst>
            <pc:docMk/>
            <pc:sldMk cId="4010332852" sldId="2147479604"/>
            <ac:spMk id="4" creationId="{1F69087E-2118-B032-7043-20AEEB648D16}"/>
          </ac:spMkLst>
        </pc:spChg>
        <pc:spChg chg="add del mod">
          <ac:chgData name="Srivaths Swaminathan" userId="S::srivaths.swaminathan@hgcapital.com::fab820a8-d04c-4fb7-bc62-495e227921e9" providerId="AD" clId="Web-{4DBDAD7C-263E-180E-4BC3-FBB4938A3309}" dt="2023-08-18T13:49:13.328" v="290"/>
          <ac:spMkLst>
            <pc:docMk/>
            <pc:sldMk cId="4010332852" sldId="2147479604"/>
            <ac:spMk id="96" creationId="{E0F317D6-C85F-9BAA-8BF5-017A4EF8A65C}"/>
          </ac:spMkLst>
        </pc:spChg>
        <pc:spChg chg="add del mod">
          <ac:chgData name="Srivaths Swaminathan" userId="S::srivaths.swaminathan@hgcapital.com::fab820a8-d04c-4fb7-bc62-495e227921e9" providerId="AD" clId="Web-{4DBDAD7C-263E-180E-4BC3-FBB4938A3309}" dt="2023-08-18T13:49:13.328" v="289"/>
          <ac:spMkLst>
            <pc:docMk/>
            <pc:sldMk cId="4010332852" sldId="2147479604"/>
            <ac:spMk id="97" creationId="{F127F3EA-968B-BBFB-E21A-0AB2D30C82EE}"/>
          </ac:spMkLst>
        </pc:spChg>
        <pc:spChg chg="add del mod">
          <ac:chgData name="Srivaths Swaminathan" userId="S::srivaths.swaminathan@hgcapital.com::fab820a8-d04c-4fb7-bc62-495e227921e9" providerId="AD" clId="Web-{4DBDAD7C-263E-180E-4BC3-FBB4938A3309}" dt="2023-08-18T13:49:13.328" v="288"/>
          <ac:spMkLst>
            <pc:docMk/>
            <pc:sldMk cId="4010332852" sldId="2147479604"/>
            <ac:spMk id="98" creationId="{E4E50F28-11D2-0203-B9BC-DAA5661DD159}"/>
          </ac:spMkLst>
        </pc:spChg>
        <pc:spChg chg="add del mod">
          <ac:chgData name="Srivaths Swaminathan" userId="S::srivaths.swaminathan@hgcapital.com::fab820a8-d04c-4fb7-bc62-495e227921e9" providerId="AD" clId="Web-{4DBDAD7C-263E-180E-4BC3-FBB4938A3309}" dt="2023-08-18T13:49:13.328" v="287"/>
          <ac:spMkLst>
            <pc:docMk/>
            <pc:sldMk cId="4010332852" sldId="2147479604"/>
            <ac:spMk id="99" creationId="{D89367F8-7F32-ABC6-74DA-CE621BAAFDC9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54:35.053" v="352" actId="20577"/>
          <ac:spMkLst>
            <pc:docMk/>
            <pc:sldMk cId="4010332852" sldId="2147479604"/>
            <ac:spMk id="100" creationId="{AD7A2038-5539-9C60-6944-C2141494C71B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53:04.879" v="338" actId="14100"/>
          <ac:spMkLst>
            <pc:docMk/>
            <pc:sldMk cId="4010332852" sldId="2147479604"/>
            <ac:spMk id="101" creationId="{53A8C7DF-F2ED-AB65-5E1A-F05DA134182B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53:04.895" v="339" actId="14100"/>
          <ac:spMkLst>
            <pc:docMk/>
            <pc:sldMk cId="4010332852" sldId="2147479604"/>
            <ac:spMk id="102" creationId="{C714B685-651D-D353-A5FE-562B619DF1CC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54:56.679" v="353" actId="14100"/>
          <ac:spMkLst>
            <pc:docMk/>
            <pc:sldMk cId="4010332852" sldId="2147479604"/>
            <ac:spMk id="103" creationId="{BB591CFC-E809-DB8A-A72D-AB07918300FF}"/>
          </ac:spMkLst>
        </pc:spChg>
        <pc:graphicFrameChg chg="add del mod modGraphic">
          <ac:chgData name="Srivaths Swaminathan" userId="S::srivaths.swaminathan@hgcapital.com::fab820a8-d04c-4fb7-bc62-495e227921e9" providerId="AD" clId="Web-{4DBDAD7C-263E-180E-4BC3-FBB4938A3309}" dt="2023-08-18T13:47:29.513" v="272"/>
          <ac:graphicFrameMkLst>
            <pc:docMk/>
            <pc:sldMk cId="4010332852" sldId="2147479604"/>
            <ac:graphicFrameMk id="3" creationId="{A057613A-79C8-A543-19F7-56282C5E1662}"/>
          </ac:graphicFrameMkLst>
        </pc:graphicFrameChg>
        <pc:graphicFrameChg chg="add del mod modGraphic">
          <ac:chgData name="Srivaths Swaminathan" userId="S::srivaths.swaminathan@hgcapital.com::fab820a8-d04c-4fb7-bc62-495e227921e9" providerId="AD" clId="Web-{4DBDAD7C-263E-180E-4BC3-FBB4938A3309}" dt="2023-08-18T13:42:35.788" v="239"/>
          <ac:graphicFrameMkLst>
            <pc:docMk/>
            <pc:sldMk cId="4010332852" sldId="2147479604"/>
            <ac:graphicFrameMk id="35" creationId="{63E45FAA-EB5F-6DC0-0BAC-F73730930325}"/>
          </ac:graphicFrameMkLst>
        </pc:graphicFrameChg>
      </pc:sldChg>
      <pc:sldChg chg="addSp delSp modSp modCm">
        <pc:chgData name="Srivaths Swaminathan" userId="S::srivaths.swaminathan@hgcapital.com::fab820a8-d04c-4fb7-bc62-495e227921e9" providerId="AD" clId="Web-{4DBDAD7C-263E-180E-4BC3-FBB4938A3309}" dt="2023-08-18T13:37:07.562" v="225" actId="1076"/>
        <pc:sldMkLst>
          <pc:docMk/>
          <pc:sldMk cId="3738489707" sldId="2147479613"/>
        </pc:sldMkLst>
        <pc:spChg chg="del mod">
          <ac:chgData name="Srivaths Swaminathan" userId="S::srivaths.swaminathan@hgcapital.com::fab820a8-d04c-4fb7-bc62-495e227921e9" providerId="AD" clId="Web-{4DBDAD7C-263E-180E-4BC3-FBB4938A3309}" dt="2023-08-18T13:35:22.841" v="222"/>
          <ac:spMkLst>
            <pc:docMk/>
            <pc:sldMk cId="3738489707" sldId="2147479613"/>
            <ac:spMk id="2" creationId="{5D4F1624-A0F4-36CC-6333-08148A0641A8}"/>
          </ac:spMkLst>
        </pc:spChg>
        <pc:spChg chg="mod">
          <ac:chgData name="Srivaths Swaminathan" userId="S::srivaths.swaminathan@hgcapital.com::fab820a8-d04c-4fb7-bc62-495e227921e9" providerId="AD" clId="Web-{4DBDAD7C-263E-180E-4BC3-FBB4938A3309}" dt="2023-08-18T13:37:07.562" v="225" actId="1076"/>
          <ac:spMkLst>
            <pc:docMk/>
            <pc:sldMk cId="3738489707" sldId="2147479613"/>
            <ac:spMk id="31" creationId="{3BE94753-A111-9D31-0BE5-C1DFA572821C}"/>
          </ac:spMkLst>
        </pc:spChg>
        <pc:spChg chg="del mod">
          <ac:chgData name="Srivaths Swaminathan" userId="S::srivaths.swaminathan@hgcapital.com::fab820a8-d04c-4fb7-bc62-495e227921e9" providerId="AD" clId="Web-{4DBDAD7C-263E-180E-4BC3-FBB4938A3309}" dt="2023-08-18T13:33:40.761" v="203"/>
          <ac:spMkLst>
            <pc:docMk/>
            <pc:sldMk cId="3738489707" sldId="2147479613"/>
            <ac:spMk id="36" creationId="{AABB7D45-BD13-81DA-334C-8EE4EE5D69D6}"/>
          </ac:spMkLst>
        </pc:spChg>
        <pc:spChg chg="mod">
          <ac:chgData name="Srivaths Swaminathan" userId="S::srivaths.swaminathan@hgcapital.com::fab820a8-d04c-4fb7-bc62-495e227921e9" providerId="AD" clId="Web-{4DBDAD7C-263E-180E-4BC3-FBB4938A3309}" dt="2023-08-18T13:29:35.193" v="166" actId="1076"/>
          <ac:spMkLst>
            <pc:docMk/>
            <pc:sldMk cId="3738489707" sldId="2147479613"/>
            <ac:spMk id="37" creationId="{842E1871-4ADA-8587-5F82-818D9E6A71A7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31:16.836" v="177" actId="1076"/>
          <ac:spMkLst>
            <pc:docMk/>
            <pc:sldMk cId="3738489707" sldId="2147479613"/>
            <ac:spMk id="38" creationId="{9FDBBF59-AA98-D0DD-BBD2-D0CEC8B03E91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32:57.041" v="195" actId="1076"/>
          <ac:spMkLst>
            <pc:docMk/>
            <pc:sldMk cId="3738489707" sldId="2147479613"/>
            <ac:spMk id="44" creationId="{5DC3BC66-7EBB-D6C4-3FB6-194BA05E46BA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35:17.544" v="221" actId="1076"/>
          <ac:spMkLst>
            <pc:docMk/>
            <pc:sldMk cId="3738489707" sldId="2147479613"/>
            <ac:spMk id="46" creationId="{0F23834F-C1EF-BA93-D560-8677F3F48141}"/>
          </ac:spMkLst>
        </pc:spChg>
        <pc:spChg chg="add mod">
          <ac:chgData name="Srivaths Swaminathan" userId="S::srivaths.swaminathan@hgcapital.com::fab820a8-d04c-4fb7-bc62-495e227921e9" providerId="AD" clId="Web-{4DBDAD7C-263E-180E-4BC3-FBB4938A3309}" dt="2023-08-18T13:35:22.841" v="222"/>
          <ac:spMkLst>
            <pc:docMk/>
            <pc:sldMk cId="3738489707" sldId="2147479613"/>
            <ac:spMk id="48" creationId="{F405F188-6285-62DA-57A1-0CC695F2618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Srivaths Swaminathan" userId="S::srivaths.swaminathan@hgcapital.com::fab820a8-d04c-4fb7-bc62-495e227921e9" providerId="AD" clId="Web-{4DBDAD7C-263E-180E-4BC3-FBB4938A3309}" dt="2023-08-18T13:36:48.796" v="223"/>
              <pc2:cmMkLst xmlns:pc2="http://schemas.microsoft.com/office/powerpoint/2019/9/main/command">
                <pc:docMk/>
                <pc:sldMk cId="3738489707" sldId="2147479613"/>
                <pc2:cmMk id="{D203354D-FE45-419C-A25F-DF0A7071012E}"/>
              </pc2:cmMkLst>
              <pc226:cmRplyChg chg="add">
                <pc226:chgData name="Srivaths Swaminathan" userId="S::srivaths.swaminathan@hgcapital.com::fab820a8-d04c-4fb7-bc62-495e227921e9" providerId="AD" clId="Web-{4DBDAD7C-263E-180E-4BC3-FBB4938A3309}" dt="2023-08-18T13:36:48.796" v="223"/>
                <pc2:cmRplyMkLst xmlns:pc2="http://schemas.microsoft.com/office/powerpoint/2019/9/main/command">
                  <pc:docMk/>
                  <pc:sldMk cId="3738489707" sldId="2147479613"/>
                  <pc2:cmMk id="{D203354D-FE45-419C-A25F-DF0A7071012E}"/>
                  <pc2:cmRplyMk id="{50019160-7A91-4BF4-B26B-6EE0499AF498}"/>
                </pc2:cmRplyMkLst>
              </pc226:cmRplyChg>
              <pc226:cmRplyChg chg="add mod">
                <pc226:chgData name="Srivaths Swaminathan" userId="S::srivaths.swaminathan@hgcapital.com::fab820a8-d04c-4fb7-bc62-495e227921e9" providerId="AD" clId="Web-{4DBDAD7C-263E-180E-4BC3-FBB4938A3309}" dt="2023-08-18T10:56:17.459" v="15"/>
                <pc2:cmRplyMkLst xmlns:pc2="http://schemas.microsoft.com/office/powerpoint/2019/9/main/command">
                  <pc:docMk/>
                  <pc:sldMk cId="3738489707" sldId="2147479613"/>
                  <pc2:cmMk id="{D203354D-FE45-419C-A25F-DF0A7071012E}"/>
                  <pc2:cmRplyMk id="{2DDBB2CD-EEC1-4C4D-86AD-BB000059BBB4}"/>
                </pc2:cmRplyMkLst>
              </pc226:cmRplyChg>
            </pc226:cmChg>
          </p:ext>
        </pc:extLst>
      </pc:sldChg>
      <pc:sldChg chg="modCm">
        <pc:chgData name="Srivaths Swaminathan" userId="S::srivaths.swaminathan@hgcapital.com::fab820a8-d04c-4fb7-bc62-495e227921e9" providerId="AD" clId="Web-{4DBDAD7C-263E-180E-4BC3-FBB4938A3309}" dt="2023-08-18T10:57:21.086" v="16"/>
        <pc:sldMkLst>
          <pc:docMk/>
          <pc:sldMk cId="1269469517" sldId="214747961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Srivaths Swaminathan" userId="S::srivaths.swaminathan@hgcapital.com::fab820a8-d04c-4fb7-bc62-495e227921e9" providerId="AD" clId="Web-{4DBDAD7C-263E-180E-4BC3-FBB4938A3309}" dt="2023-08-18T10:57:21.086" v="16"/>
              <pc2:cmMkLst xmlns:pc2="http://schemas.microsoft.com/office/powerpoint/2019/9/main/command">
                <pc:docMk/>
                <pc:sldMk cId="1269469517" sldId="2147479614"/>
                <pc2:cmMk id="{278E52E1-017B-4029-BA78-9FEDB4C39859}"/>
              </pc2:cmMkLst>
              <pc226:cmRplyChg chg="add">
                <pc226:chgData name="Srivaths Swaminathan" userId="S::srivaths.swaminathan@hgcapital.com::fab820a8-d04c-4fb7-bc62-495e227921e9" providerId="AD" clId="Web-{4DBDAD7C-263E-180E-4BC3-FBB4938A3309}" dt="2023-08-18T10:57:21.086" v="16"/>
                <pc2:cmRplyMkLst xmlns:pc2="http://schemas.microsoft.com/office/powerpoint/2019/9/main/command">
                  <pc:docMk/>
                  <pc:sldMk cId="1269469517" sldId="2147479614"/>
                  <pc2:cmMk id="{278E52E1-017B-4029-BA78-9FEDB4C39859}"/>
                  <pc2:cmRplyMk id="{E30703AA-7A6F-4BA0-8E36-A58EF0A6AE4A}"/>
                </pc2:cmRplyMkLst>
              </pc226:cmRplyChg>
            </pc226:cmChg>
          </p:ext>
        </pc:extLst>
      </pc:sldChg>
      <pc:sldChg chg="modSp">
        <pc:chgData name="Srivaths Swaminathan" userId="S::srivaths.swaminathan@hgcapital.com::fab820a8-d04c-4fb7-bc62-495e227921e9" providerId="AD" clId="Web-{4DBDAD7C-263E-180E-4BC3-FBB4938A3309}" dt="2023-08-18T10:09:42.528" v="12" actId="20577"/>
        <pc:sldMkLst>
          <pc:docMk/>
          <pc:sldMk cId="167908758" sldId="2147479615"/>
        </pc:sldMkLst>
        <pc:spChg chg="mod">
          <ac:chgData name="Srivaths Swaminathan" userId="S::srivaths.swaminathan@hgcapital.com::fab820a8-d04c-4fb7-bc62-495e227921e9" providerId="AD" clId="Web-{4DBDAD7C-263E-180E-4BC3-FBB4938A3309}" dt="2023-08-18T10:09:42.528" v="12" actId="20577"/>
          <ac:spMkLst>
            <pc:docMk/>
            <pc:sldMk cId="167908758" sldId="2147479615"/>
            <ac:spMk id="18" creationId="{2DCBCB12-5658-9CEE-DAFB-F41A31CE3BC4}"/>
          </ac:spMkLst>
        </pc:spChg>
      </pc:sldChg>
      <pc:sldChg chg="modSp">
        <pc:chgData name="Srivaths Swaminathan" userId="S::srivaths.swaminathan@hgcapital.com::fab820a8-d04c-4fb7-bc62-495e227921e9" providerId="AD" clId="Web-{4DBDAD7C-263E-180E-4BC3-FBB4938A3309}" dt="2023-08-18T10:59:08.293" v="43" actId="14100"/>
        <pc:sldMkLst>
          <pc:docMk/>
          <pc:sldMk cId="1098155061" sldId="2147479616"/>
        </pc:sldMkLst>
        <pc:spChg chg="mod">
          <ac:chgData name="Srivaths Swaminathan" userId="S::srivaths.swaminathan@hgcapital.com::fab820a8-d04c-4fb7-bc62-495e227921e9" providerId="AD" clId="Web-{4DBDAD7C-263E-180E-4BC3-FBB4938A3309}" dt="2023-08-18T10:59:08.293" v="43" actId="14100"/>
          <ac:spMkLst>
            <pc:docMk/>
            <pc:sldMk cId="1098155061" sldId="2147479616"/>
            <ac:spMk id="37" creationId="{71F58665-5E3F-2EAA-A81C-94236DCF7ADA}"/>
          </ac:spMkLst>
        </pc:spChg>
      </pc:sldChg>
      <pc:sldChg chg="add del replId">
        <pc:chgData name="Srivaths Swaminathan" userId="S::srivaths.swaminathan@hgcapital.com::fab820a8-d04c-4fb7-bc62-495e227921e9" providerId="AD" clId="Web-{4DBDAD7C-263E-180E-4BC3-FBB4938A3309}" dt="2023-08-18T13:23:37.498" v="45"/>
        <pc:sldMkLst>
          <pc:docMk/>
          <pc:sldMk cId="2004902283" sldId="2147479617"/>
        </pc:sldMkLst>
      </pc:sldChg>
    </pc:docChg>
  </pc:docChgLst>
  <pc:docChgLst>
    <pc:chgData name="Srivaths Swaminathan" userId="S::srivaths.swaminathan@hgcapital.com::fab820a8-d04c-4fb7-bc62-495e227921e9" providerId="AD" clId="Web-{D9337A9E-F473-FB07-B4BE-5698E342E578}"/>
    <pc:docChg chg="modSld">
      <pc:chgData name="Srivaths Swaminathan" userId="S::srivaths.swaminathan@hgcapital.com::fab820a8-d04c-4fb7-bc62-495e227921e9" providerId="AD" clId="Web-{D9337A9E-F473-FB07-B4BE-5698E342E578}" dt="2023-08-14T13:07:19.934" v="6" actId="20577"/>
      <pc:docMkLst>
        <pc:docMk/>
      </pc:docMkLst>
      <pc:sldChg chg="modSp">
        <pc:chgData name="Srivaths Swaminathan" userId="S::srivaths.swaminathan@hgcapital.com::fab820a8-d04c-4fb7-bc62-495e227921e9" providerId="AD" clId="Web-{D9337A9E-F473-FB07-B4BE-5698E342E578}" dt="2023-08-14T13:07:19.934" v="6" actId="20577"/>
        <pc:sldMkLst>
          <pc:docMk/>
          <pc:sldMk cId="3361998970" sldId="258"/>
        </pc:sldMkLst>
        <pc:spChg chg="mod">
          <ac:chgData name="Srivaths Swaminathan" userId="S::srivaths.swaminathan@hgcapital.com::fab820a8-d04c-4fb7-bc62-495e227921e9" providerId="AD" clId="Web-{D9337A9E-F473-FB07-B4BE-5698E342E578}" dt="2023-08-14T13:07:19.934" v="6" actId="20577"/>
          <ac:spMkLst>
            <pc:docMk/>
            <pc:sldMk cId="3361998970" sldId="258"/>
            <ac:spMk id="4" creationId="{532BA280-18FB-4486-AC4D-7AE49367EEBF}"/>
          </ac:spMkLst>
        </pc:spChg>
      </pc:sldChg>
    </pc:docChg>
  </pc:docChgLst>
  <pc:docChgLst>
    <pc:chgData name="Richard Poole" userId="4e0cbeaa-a899-4d51-a324-6020fab610d0" providerId="ADAL" clId="{D31222EC-09C3-40A7-91C9-DB87296E4AA3}"/>
    <pc:docChg chg="custSel addSld modSld replTag">
      <pc:chgData name="Richard Poole" userId="4e0cbeaa-a899-4d51-a324-6020fab610d0" providerId="ADAL" clId="{D31222EC-09C3-40A7-91C9-DB87296E4AA3}" dt="2023-09-01T13:44:33.469" v="442" actId="20577"/>
      <pc:docMkLst>
        <pc:docMk/>
      </pc:docMkLst>
      <pc:sldChg chg="addSp delSp modSp add mod">
        <pc:chgData name="Richard Poole" userId="4e0cbeaa-a899-4d51-a324-6020fab610d0" providerId="ADAL" clId="{D31222EC-09C3-40A7-91C9-DB87296E4AA3}" dt="2023-09-01T13:40:43.306" v="65"/>
        <pc:sldMkLst>
          <pc:docMk/>
          <pc:sldMk cId="1932827902" sldId="2147470282"/>
        </pc:sldMkLst>
        <pc:spChg chg="mod">
          <ac:chgData name="Richard Poole" userId="4e0cbeaa-a899-4d51-a324-6020fab610d0" providerId="ADAL" clId="{D31222EC-09C3-40A7-91C9-DB87296E4AA3}" dt="2023-09-01T13:40:43.244" v="22" actId="948"/>
          <ac:spMkLst>
            <pc:docMk/>
            <pc:sldMk cId="1932827902" sldId="2147470282"/>
            <ac:spMk id="2" creationId="{B4F7032D-112C-6A43-9162-7015FD1B2CE7}"/>
          </ac:spMkLst>
        </pc:spChg>
        <pc:spChg chg="add del mod modVis">
          <ac:chgData name="Richard Poole" userId="4e0cbeaa-a899-4d51-a324-6020fab610d0" providerId="ADAL" clId="{D31222EC-09C3-40A7-91C9-DB87296E4AA3}" dt="2023-09-01T13:40:43.292" v="63"/>
          <ac:spMkLst>
            <pc:docMk/>
            <pc:sldMk cId="1932827902" sldId="2147470282"/>
            <ac:spMk id="4" creationId="{19DC8011-2EBE-B0A5-2BC7-42F5527AC04D}"/>
          </ac:spMkLst>
        </pc:spChg>
        <pc:graphicFrameChg chg="mod">
          <ac:chgData name="Richard Poole" userId="4e0cbeaa-a899-4d51-a324-6020fab610d0" providerId="ADAL" clId="{D31222EC-09C3-40A7-91C9-DB87296E4AA3}" dt="2023-09-01T13:40:43.306" v="65"/>
          <ac:graphicFrameMkLst>
            <pc:docMk/>
            <pc:sldMk cId="1932827902" sldId="2147470282"/>
            <ac:graphicFrameMk id="5" creationId="{BC1BC7B6-3F38-FD5C-6A6C-0AC76CB45FF8}"/>
          </ac:graphicFrameMkLst>
        </pc:graphicFrameChg>
      </pc:sldChg>
      <pc:sldChg chg="addSp modSp new add mod">
        <pc:chgData name="Richard Poole" userId="4e0cbeaa-a899-4d51-a324-6020fab610d0" providerId="ADAL" clId="{D31222EC-09C3-40A7-91C9-DB87296E4AA3}" dt="2023-09-01T13:44:33.469" v="442" actId="20577"/>
        <pc:sldMkLst>
          <pc:docMk/>
          <pc:sldMk cId="3739948955" sldId="2147479630"/>
        </pc:sldMkLst>
        <pc:spChg chg="add mod">
          <ac:chgData name="Richard Poole" userId="4e0cbeaa-a899-4d51-a324-6020fab610d0" providerId="ADAL" clId="{D31222EC-09C3-40A7-91C9-DB87296E4AA3}" dt="2023-09-01T13:44:33.469" v="442" actId="20577"/>
          <ac:spMkLst>
            <pc:docMk/>
            <pc:sldMk cId="3739948955" sldId="2147479630"/>
            <ac:spMk id="5" creationId="{95F1FE41-8826-3231-3300-E7DD09367AF4}"/>
          </ac:spMkLst>
        </pc:spChg>
      </pc:sldChg>
      <pc:sldChg chg="add">
        <pc:chgData name="Richard Poole" userId="4e0cbeaa-a899-4d51-a324-6020fab610d0" providerId="ADAL" clId="{D31222EC-09C3-40A7-91C9-DB87296E4AA3}" dt="2023-09-01T13:39:48.976" v="2"/>
        <pc:sldMkLst>
          <pc:docMk/>
          <pc:sldMk cId="2824575596" sldId="2147479631"/>
        </pc:sldMkLst>
      </pc:sldChg>
      <pc:sldChg chg="add">
        <pc:chgData name="Richard Poole" userId="4e0cbeaa-a899-4d51-a324-6020fab610d0" providerId="ADAL" clId="{D31222EC-09C3-40A7-91C9-DB87296E4AA3}" dt="2023-09-01T13:39:49.309" v="3"/>
        <pc:sldMkLst>
          <pc:docMk/>
          <pc:sldMk cId="2474842549" sldId="2147479632"/>
        </pc:sldMkLst>
      </pc:sldChg>
      <pc:sldChg chg="add">
        <pc:chgData name="Richard Poole" userId="4e0cbeaa-a899-4d51-a324-6020fab610d0" providerId="ADAL" clId="{D31222EC-09C3-40A7-91C9-DB87296E4AA3}" dt="2023-09-01T13:39:49.522" v="4"/>
        <pc:sldMkLst>
          <pc:docMk/>
          <pc:sldMk cId="2209361113" sldId="2147479633"/>
        </pc:sldMkLst>
      </pc:sldChg>
      <pc:sldChg chg="new add">
        <pc:chgData name="Richard Poole" userId="4e0cbeaa-a899-4d51-a324-6020fab610d0" providerId="ADAL" clId="{D31222EC-09C3-40A7-91C9-DB87296E4AA3}" dt="2023-09-01T13:41:08.002" v="67"/>
        <pc:sldMkLst>
          <pc:docMk/>
          <pc:sldMk cId="2026828799" sldId="2147479634"/>
        </pc:sldMkLst>
      </pc:sldChg>
    </pc:docChg>
  </pc:docChgLst>
  <pc:docChgLst>
    <pc:chgData name="Srivaths Swaminathan" userId="S::srivaths.swaminathan@hgcapital.com::fab820a8-d04c-4fb7-bc62-495e227921e9" providerId="AD" clId="Web-{87D5AE2E-BD89-0B8F-E0E3-4132C67B1E9E}"/>
    <pc:docChg chg="addSld delSld modSld addMainMaster modMainMaster">
      <pc:chgData name="Srivaths Swaminathan" userId="S::srivaths.swaminathan@hgcapital.com::fab820a8-d04c-4fb7-bc62-495e227921e9" providerId="AD" clId="Web-{87D5AE2E-BD89-0B8F-E0E3-4132C67B1E9E}" dt="2023-08-15T10:32:52.746" v="1329" actId="1076"/>
      <pc:docMkLst>
        <pc:docMk/>
      </pc:docMkLst>
      <pc:sldChg chg="modSp">
        <pc:chgData name="Srivaths Swaminathan" userId="S::srivaths.swaminathan@hgcapital.com::fab820a8-d04c-4fb7-bc62-495e227921e9" providerId="AD" clId="Web-{87D5AE2E-BD89-0B8F-E0E3-4132C67B1E9E}" dt="2023-08-15T10:28:45.194" v="1230" actId="20577"/>
        <pc:sldMkLst>
          <pc:docMk/>
          <pc:sldMk cId="1485362133" sldId="2147479563"/>
        </pc:sldMkLst>
        <pc:spChg chg="mod">
          <ac:chgData name="Srivaths Swaminathan" userId="S::srivaths.swaminathan@hgcapital.com::fab820a8-d04c-4fb7-bc62-495e227921e9" providerId="AD" clId="Web-{87D5AE2E-BD89-0B8F-E0E3-4132C67B1E9E}" dt="2023-08-15T10:28:41.460" v="1229" actId="20577"/>
          <ac:spMkLst>
            <pc:docMk/>
            <pc:sldMk cId="1485362133" sldId="2147479563"/>
            <ac:spMk id="3" creationId="{5ED6C8A5-FD0C-E265-84A2-47E65A1B8275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28:45.194" v="1230" actId="20577"/>
          <ac:spMkLst>
            <pc:docMk/>
            <pc:sldMk cId="1485362133" sldId="2147479563"/>
            <ac:spMk id="10" creationId="{1B7BBC78-63BD-CFE6-3ABA-CA188488139E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28:15.928" v="1213" actId="20577"/>
          <ac:spMkLst>
            <pc:docMk/>
            <pc:sldMk cId="1485362133" sldId="2147479563"/>
            <ac:spMk id="14" creationId="{574D6408-7C1E-0CC6-E2A9-97388C2DB56D}"/>
          </ac:spMkLst>
        </pc:spChg>
      </pc:sldChg>
      <pc:sldChg chg="modSp">
        <pc:chgData name="Srivaths Swaminathan" userId="S::srivaths.swaminathan@hgcapital.com::fab820a8-d04c-4fb7-bc62-495e227921e9" providerId="AD" clId="Web-{87D5AE2E-BD89-0B8F-E0E3-4132C67B1E9E}" dt="2023-08-15T10:14:35.913" v="949" actId="1076"/>
        <pc:sldMkLst>
          <pc:docMk/>
          <pc:sldMk cId="2745341794" sldId="2147479591"/>
        </pc:sldMkLst>
        <pc:spChg chg="mod">
          <ac:chgData name="Srivaths Swaminathan" userId="S::srivaths.swaminathan@hgcapital.com::fab820a8-d04c-4fb7-bc62-495e227921e9" providerId="AD" clId="Web-{87D5AE2E-BD89-0B8F-E0E3-4132C67B1E9E}" dt="2023-08-15T10:14:29.288" v="946" actId="20577"/>
          <ac:spMkLst>
            <pc:docMk/>
            <pc:sldMk cId="2745341794" sldId="2147479591"/>
            <ac:spMk id="2" creationId="{E095F009-F48C-2687-23C2-E2266D3C074D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14:35.913" v="949" actId="1076"/>
          <ac:spMkLst>
            <pc:docMk/>
            <pc:sldMk cId="2745341794" sldId="2147479591"/>
            <ac:spMk id="28" creationId="{C983A64E-2125-8B60-EEF8-BC8A02CEB899}"/>
          </ac:spMkLst>
        </pc:spChg>
      </pc:sldChg>
      <pc:sldChg chg="addSp delSp modSp">
        <pc:chgData name="Srivaths Swaminathan" userId="S::srivaths.swaminathan@hgcapital.com::fab820a8-d04c-4fb7-bc62-495e227921e9" providerId="AD" clId="Web-{87D5AE2E-BD89-0B8F-E0E3-4132C67B1E9E}" dt="2023-08-15T10:02:00.400" v="484" actId="1076"/>
        <pc:sldMkLst>
          <pc:docMk/>
          <pc:sldMk cId="3666502735" sldId="2147479595"/>
        </pc:sldMkLst>
        <pc:spChg chg="mod">
          <ac:chgData name="Srivaths Swaminathan" userId="S::srivaths.swaminathan@hgcapital.com::fab820a8-d04c-4fb7-bc62-495e227921e9" providerId="AD" clId="Web-{87D5AE2E-BD89-0B8F-E0E3-4132C67B1E9E}" dt="2023-08-15T09:50:21.746" v="117" actId="20577"/>
          <ac:spMkLst>
            <pc:docMk/>
            <pc:sldMk cId="3666502735" sldId="2147479595"/>
            <ac:spMk id="2" creationId="{E095F009-F48C-2687-23C2-E2266D3C074D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28:13.799" v="108"/>
          <ac:spMkLst>
            <pc:docMk/>
            <pc:sldMk cId="3666502735" sldId="2147479595"/>
            <ac:spMk id="5" creationId="{B01EB8F4-73D1-F46D-7C00-66E622D3F678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25:57.185" v="90"/>
          <ac:spMkLst>
            <pc:docMk/>
            <pc:sldMk cId="3666502735" sldId="2147479595"/>
            <ac:spMk id="7" creationId="{E2149000-AD6C-45C0-0889-873249F0612B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01:01.711" v="438" actId="1076"/>
          <ac:spMkLst>
            <pc:docMk/>
            <pc:sldMk cId="3666502735" sldId="2147479595"/>
            <ac:spMk id="19" creationId="{536E15A8-17F3-8F27-99D4-9033EBEB84D7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25:57.201" v="93"/>
          <ac:spMkLst>
            <pc:docMk/>
            <pc:sldMk cId="3666502735" sldId="2147479595"/>
            <ac:spMk id="75" creationId="{25174ED9-8577-7A8E-AEBC-8C74A99D7054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25:57.201" v="92"/>
          <ac:spMkLst>
            <pc:docMk/>
            <pc:sldMk cId="3666502735" sldId="2147479595"/>
            <ac:spMk id="76" creationId="{60D504BD-A1DD-6741-58FC-D339236DB993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25:57.201" v="91"/>
          <ac:spMkLst>
            <pc:docMk/>
            <pc:sldMk cId="3666502735" sldId="2147479595"/>
            <ac:spMk id="77" creationId="{F19DB44E-FE01-0C56-4056-FE6E0184F0EA}"/>
          </ac:spMkLst>
        </pc:spChg>
        <pc:picChg chg="add mod">
          <ac:chgData name="Srivaths Swaminathan" userId="S::srivaths.swaminathan@hgcapital.com::fab820a8-d04c-4fb7-bc62-495e227921e9" providerId="AD" clId="Web-{87D5AE2E-BD89-0B8F-E0E3-4132C67B1E9E}" dt="2023-08-15T09:27:21.547" v="101"/>
          <ac:picMkLst>
            <pc:docMk/>
            <pc:sldMk cId="3666502735" sldId="2147479595"/>
            <ac:picMk id="6" creationId="{286999AA-D283-0D9B-3A40-673D9AA5FACF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12.711" v="442" actId="1076"/>
          <ac:picMkLst>
            <pc:docMk/>
            <pc:sldMk cId="3666502735" sldId="2147479595"/>
            <ac:picMk id="7" creationId="{DAA47165-9B96-81DA-7C1D-7C0155C9BB5F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09:27:57.517" v="106"/>
          <ac:picMkLst>
            <pc:docMk/>
            <pc:sldMk cId="3666502735" sldId="2147479595"/>
            <ac:picMk id="16" creationId="{AC54C802-48C3-3276-DB59-3B6D79767C53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09.133" v="441" actId="1076"/>
          <ac:picMkLst>
            <pc:docMk/>
            <pc:sldMk cId="3666502735" sldId="2147479595"/>
            <ac:picMk id="17" creationId="{1623E039-B0FB-A147-A79A-D5E97AD71ADB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19.461" v="444" actId="1076"/>
          <ac:picMkLst>
            <pc:docMk/>
            <pc:sldMk cId="3666502735" sldId="2147479595"/>
            <ac:picMk id="18" creationId="{89AABC2E-497D-E69C-74C3-0EFB620B315E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42.446" v="460" actId="1076"/>
          <ac:picMkLst>
            <pc:docMk/>
            <pc:sldMk cId="3666502735" sldId="2147479595"/>
            <ac:picMk id="20" creationId="{3B590762-E411-7EDC-C681-2411DF0D892B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42.462" v="461" actId="1076"/>
          <ac:picMkLst>
            <pc:docMk/>
            <pc:sldMk cId="3666502735" sldId="2147479595"/>
            <ac:picMk id="21" creationId="{76A33E53-1344-EBB1-F267-2478DDD0363D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42.493" v="462" actId="1076"/>
          <ac:picMkLst>
            <pc:docMk/>
            <pc:sldMk cId="3666502735" sldId="2147479595"/>
            <ac:picMk id="22" creationId="{3139AEF3-C570-0E87-B50C-956A12A653B3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42.509" v="463" actId="1076"/>
          <ac:picMkLst>
            <pc:docMk/>
            <pc:sldMk cId="3666502735" sldId="2147479595"/>
            <ac:picMk id="23" creationId="{A753E1A8-D362-DFE0-DD44-BF480C984C5A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42.524" v="464" actId="1076"/>
          <ac:picMkLst>
            <pc:docMk/>
            <pc:sldMk cId="3666502735" sldId="2147479595"/>
            <ac:picMk id="24" creationId="{5CA929E3-0A67-1218-C3F4-8BC24984F6D9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54.696" v="470" actId="1076"/>
          <ac:picMkLst>
            <pc:docMk/>
            <pc:sldMk cId="3666502735" sldId="2147479595"/>
            <ac:picMk id="25" creationId="{E1DC44AD-9F74-2B0D-A10D-2239668A5D5D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54.728" v="471" actId="1076"/>
          <ac:picMkLst>
            <pc:docMk/>
            <pc:sldMk cId="3666502735" sldId="2147479595"/>
            <ac:picMk id="26" creationId="{347B276D-C92B-982A-C0B0-B0E99D336FFF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54.743" v="472" actId="1076"/>
          <ac:picMkLst>
            <pc:docMk/>
            <pc:sldMk cId="3666502735" sldId="2147479595"/>
            <ac:picMk id="27" creationId="{532F1B9F-9F3E-0149-9E6D-10CE15558464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54.759" v="473" actId="1076"/>
          <ac:picMkLst>
            <pc:docMk/>
            <pc:sldMk cId="3666502735" sldId="2147479595"/>
            <ac:picMk id="28" creationId="{8ACF80F6-74FF-5386-77D6-377D2C424A0D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1:54.775" v="474" actId="1076"/>
          <ac:picMkLst>
            <pc:docMk/>
            <pc:sldMk cId="3666502735" sldId="2147479595"/>
            <ac:picMk id="29" creationId="{D9919384-0C61-7526-BBBB-518FF2233B60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2:00.337" v="480" actId="1076"/>
          <ac:picMkLst>
            <pc:docMk/>
            <pc:sldMk cId="3666502735" sldId="2147479595"/>
            <ac:picMk id="30" creationId="{2AD06A0D-6BE0-6009-59D8-9AAA9A580022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2:00.353" v="481" actId="1076"/>
          <ac:picMkLst>
            <pc:docMk/>
            <pc:sldMk cId="3666502735" sldId="2147479595"/>
            <ac:picMk id="31" creationId="{731C59D7-277B-9546-5539-3EE0E06D913B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9"/>
          <ac:picMkLst>
            <pc:docMk/>
            <pc:sldMk cId="3666502735" sldId="2147479595"/>
            <ac:picMk id="31" creationId="{E68BE096-943A-2ACD-C860-02BC60F236C5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2:00.368" v="482" actId="1076"/>
          <ac:picMkLst>
            <pc:docMk/>
            <pc:sldMk cId="3666502735" sldId="2147479595"/>
            <ac:picMk id="32" creationId="{FB7A1673-8480-DDE5-0924-71AAF97D64D1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8"/>
          <ac:picMkLst>
            <pc:docMk/>
            <pc:sldMk cId="3666502735" sldId="2147479595"/>
            <ac:picMk id="33" creationId="{1B9253E8-BE8B-4110-EC0C-E17CDF87EC36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2:00.384" v="483" actId="1076"/>
          <ac:picMkLst>
            <pc:docMk/>
            <pc:sldMk cId="3666502735" sldId="2147479595"/>
            <ac:picMk id="33" creationId="{8AC814CD-D95A-562F-7DDC-B48D6997D2B8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7"/>
          <ac:picMkLst>
            <pc:docMk/>
            <pc:sldMk cId="3666502735" sldId="2147479595"/>
            <ac:picMk id="34" creationId="{B421045B-269B-0D08-8F82-F4B685841246}"/>
          </ac:picMkLst>
        </pc:picChg>
        <pc:picChg chg="add mod">
          <ac:chgData name="Srivaths Swaminathan" userId="S::srivaths.swaminathan@hgcapital.com::fab820a8-d04c-4fb7-bc62-495e227921e9" providerId="AD" clId="Web-{87D5AE2E-BD89-0B8F-E0E3-4132C67B1E9E}" dt="2023-08-15T10:02:00.400" v="484" actId="1076"/>
          <ac:picMkLst>
            <pc:docMk/>
            <pc:sldMk cId="3666502735" sldId="2147479595"/>
            <ac:picMk id="34" creationId="{F811CD86-5A9E-B4AC-4B46-E72370AA66F6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6"/>
          <ac:picMkLst>
            <pc:docMk/>
            <pc:sldMk cId="3666502735" sldId="2147479595"/>
            <ac:picMk id="40" creationId="{297C39EA-68A8-4172-89E4-CEF04F4B0F6A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5"/>
          <ac:picMkLst>
            <pc:docMk/>
            <pc:sldMk cId="3666502735" sldId="2147479595"/>
            <ac:picMk id="41" creationId="{0F773700-3021-4FCD-3971-8A6BEBE35E4C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4"/>
          <ac:picMkLst>
            <pc:docMk/>
            <pc:sldMk cId="3666502735" sldId="2147479595"/>
            <ac:picMk id="42" creationId="{6435F6E7-3E35-D224-7493-9D651116ECB8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3"/>
          <ac:picMkLst>
            <pc:docMk/>
            <pc:sldMk cId="3666502735" sldId="2147479595"/>
            <ac:picMk id="43" creationId="{EB163A7D-D88E-D230-A710-C0F70E6C2074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2"/>
          <ac:picMkLst>
            <pc:docMk/>
            <pc:sldMk cId="3666502735" sldId="2147479595"/>
            <ac:picMk id="44" creationId="{F91622B5-534E-D8B9-BF5A-6426E5BB7298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1"/>
          <ac:picMkLst>
            <pc:docMk/>
            <pc:sldMk cId="3666502735" sldId="2147479595"/>
            <ac:picMk id="45" creationId="{6B3B8E9C-68C9-89A9-6B8C-FD023699DD6C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80"/>
          <ac:picMkLst>
            <pc:docMk/>
            <pc:sldMk cId="3666502735" sldId="2147479595"/>
            <ac:picMk id="46" creationId="{697296D8-DA37-B203-CACA-AB38D7AF68EF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9"/>
          <ac:picMkLst>
            <pc:docMk/>
            <pc:sldMk cId="3666502735" sldId="2147479595"/>
            <ac:picMk id="47" creationId="{DE7322C5-F195-A9F8-C056-2C5DC1D2ABD8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8"/>
          <ac:picMkLst>
            <pc:docMk/>
            <pc:sldMk cId="3666502735" sldId="2147479595"/>
            <ac:picMk id="48" creationId="{317BD67B-FE76-8A67-1ED3-2AAC0DAE034F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7"/>
          <ac:picMkLst>
            <pc:docMk/>
            <pc:sldMk cId="3666502735" sldId="2147479595"/>
            <ac:picMk id="49" creationId="{EDA59548-1C7B-A6AC-79BF-0C60A207A92A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6"/>
          <ac:picMkLst>
            <pc:docMk/>
            <pc:sldMk cId="3666502735" sldId="2147479595"/>
            <ac:picMk id="55" creationId="{2C89C735-D068-004F-733B-92F57D4C2D76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5"/>
          <ac:picMkLst>
            <pc:docMk/>
            <pc:sldMk cId="3666502735" sldId="2147479595"/>
            <ac:picMk id="56" creationId="{E46D034D-AE9D-F2E4-3638-6664F4F28BB9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4"/>
          <ac:picMkLst>
            <pc:docMk/>
            <pc:sldMk cId="3666502735" sldId="2147479595"/>
            <ac:picMk id="57" creationId="{DE60B93B-435F-5D3F-8A2C-08F9B1B56B37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3"/>
          <ac:picMkLst>
            <pc:docMk/>
            <pc:sldMk cId="3666502735" sldId="2147479595"/>
            <ac:picMk id="58" creationId="{51AE5FFD-6EF4-CAD5-C0A2-466CDD1E3659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2"/>
          <ac:picMkLst>
            <pc:docMk/>
            <pc:sldMk cId="3666502735" sldId="2147479595"/>
            <ac:picMk id="59" creationId="{AD278E52-D1A0-325F-2610-881311ED8E8C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1"/>
          <ac:picMkLst>
            <pc:docMk/>
            <pc:sldMk cId="3666502735" sldId="2147479595"/>
            <ac:picMk id="60" creationId="{FB7476C1-3F68-339D-20F7-6DFBE539D7EA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3.763" v="70"/>
          <ac:picMkLst>
            <pc:docMk/>
            <pc:sldMk cId="3666502735" sldId="2147479595"/>
            <ac:picMk id="61" creationId="{076865D0-1FFE-107E-F5BC-33CFA5782E66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7.201" v="95"/>
          <ac:picMkLst>
            <pc:docMk/>
            <pc:sldMk cId="3666502735" sldId="2147479595"/>
            <ac:picMk id="73" creationId="{20B63361-EF2B-91AB-1F9B-1899B303F495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25:57.201" v="94"/>
          <ac:picMkLst>
            <pc:docMk/>
            <pc:sldMk cId="3666502735" sldId="2147479595"/>
            <ac:picMk id="74" creationId="{9EC3DF5F-AEA1-66D1-B7B8-F505B10AC8CB}"/>
          </ac:picMkLst>
        </pc:picChg>
      </pc:sldChg>
      <pc:sldChg chg="modSp">
        <pc:chgData name="Srivaths Swaminathan" userId="S::srivaths.swaminathan@hgcapital.com::fab820a8-d04c-4fb7-bc62-495e227921e9" providerId="AD" clId="Web-{87D5AE2E-BD89-0B8F-E0E3-4132C67B1E9E}" dt="2023-08-15T10:32:52.746" v="1329" actId="1076"/>
        <pc:sldMkLst>
          <pc:docMk/>
          <pc:sldMk cId="891120514" sldId="2147479596"/>
        </pc:sldMkLst>
        <pc:spChg chg="mod">
          <ac:chgData name="Srivaths Swaminathan" userId="S::srivaths.swaminathan@hgcapital.com::fab820a8-d04c-4fb7-bc62-495e227921e9" providerId="AD" clId="Web-{87D5AE2E-BD89-0B8F-E0E3-4132C67B1E9E}" dt="2023-08-15T10:10:02.315" v="743" actId="20577"/>
          <ac:spMkLst>
            <pc:docMk/>
            <pc:sldMk cId="891120514" sldId="2147479596"/>
            <ac:spMk id="2" creationId="{E095F009-F48C-2687-23C2-E2266D3C074D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32:52.746" v="1329" actId="1076"/>
          <ac:spMkLst>
            <pc:docMk/>
            <pc:sldMk cId="891120514" sldId="2147479596"/>
            <ac:spMk id="24" creationId="{41FC746F-2C9F-682D-6E9A-C738527FB971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10:11.549" v="749" actId="1076"/>
          <ac:spMkLst>
            <pc:docMk/>
            <pc:sldMk cId="891120514" sldId="2147479596"/>
            <ac:spMk id="25" creationId="{EE10B747-48C3-49F6-32C3-A331C7B9C50F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10:27.581" v="757" actId="1076"/>
          <ac:spMkLst>
            <pc:docMk/>
            <pc:sldMk cId="891120514" sldId="2147479596"/>
            <ac:spMk id="26" creationId="{0E9C5A1F-BACC-2965-8175-B53211FC908A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10:13.127" v="753" actId="20577"/>
          <ac:spMkLst>
            <pc:docMk/>
            <pc:sldMk cId="891120514" sldId="2147479596"/>
            <ac:spMk id="318" creationId="{2D3B98B1-3FC1-4746-FB57-6F242F9D8EF7}"/>
          </ac:spMkLst>
        </pc:spChg>
      </pc:sldChg>
      <pc:sldChg chg="delSp modSp">
        <pc:chgData name="Srivaths Swaminathan" userId="S::srivaths.swaminathan@hgcapital.com::fab820a8-d04c-4fb7-bc62-495e227921e9" providerId="AD" clId="Web-{87D5AE2E-BD89-0B8F-E0E3-4132C67B1E9E}" dt="2023-08-15T09:59:51.397" v="388"/>
        <pc:sldMkLst>
          <pc:docMk/>
          <pc:sldMk cId="30169280" sldId="2147479597"/>
        </pc:sldMkLst>
        <pc:spChg chg="del">
          <ac:chgData name="Srivaths Swaminathan" userId="S::srivaths.swaminathan@hgcapital.com::fab820a8-d04c-4fb7-bc62-495e227921e9" providerId="AD" clId="Web-{87D5AE2E-BD89-0B8F-E0E3-4132C67B1E9E}" dt="2023-08-15T09:59:51.397" v="388"/>
          <ac:spMkLst>
            <pc:docMk/>
            <pc:sldMk cId="30169280" sldId="2147479597"/>
            <ac:spMk id="3" creationId="{A5341318-5492-8B07-9C91-0AC0AA2C420F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54:46.861" v="248" actId="20577"/>
          <ac:spMkLst>
            <pc:docMk/>
            <pc:sldMk cId="30169280" sldId="2147479597"/>
            <ac:spMk id="4" creationId="{5A14AA1A-EFBF-C2D8-C3F0-8C48878C8784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59:48.116" v="387" actId="1076"/>
          <ac:spMkLst>
            <pc:docMk/>
            <pc:sldMk cId="30169280" sldId="2147479597"/>
            <ac:spMk id="6" creationId="{627BE056-3E91-34C1-872D-B75391850370}"/>
          </ac:spMkLst>
        </pc:spChg>
      </pc:sldChg>
      <pc:sldChg chg="modSp">
        <pc:chgData name="Srivaths Swaminathan" userId="S::srivaths.swaminathan@hgcapital.com::fab820a8-d04c-4fb7-bc62-495e227921e9" providerId="AD" clId="Web-{87D5AE2E-BD89-0B8F-E0E3-4132C67B1E9E}" dt="2023-08-15T10:15:34.164" v="978" actId="20577"/>
        <pc:sldMkLst>
          <pc:docMk/>
          <pc:sldMk cId="2430291838" sldId="2147479600"/>
        </pc:sldMkLst>
        <pc:spChg chg="mod">
          <ac:chgData name="Srivaths Swaminathan" userId="S::srivaths.swaminathan@hgcapital.com::fab820a8-d04c-4fb7-bc62-495e227921e9" providerId="AD" clId="Web-{87D5AE2E-BD89-0B8F-E0E3-4132C67B1E9E}" dt="2023-08-15T10:15:34.164" v="978" actId="20577"/>
          <ac:spMkLst>
            <pc:docMk/>
            <pc:sldMk cId="2430291838" sldId="2147479600"/>
            <ac:spMk id="39" creationId="{343C2699-1C33-BA30-CC07-D1C66D578E64}"/>
          </ac:spMkLst>
        </pc:spChg>
      </pc:sldChg>
      <pc:sldChg chg="addSp modSp">
        <pc:chgData name="Srivaths Swaminathan" userId="S::srivaths.swaminathan@hgcapital.com::fab820a8-d04c-4fb7-bc62-495e227921e9" providerId="AD" clId="Web-{87D5AE2E-BD89-0B8F-E0E3-4132C67B1E9E}" dt="2023-08-15T10:16:57.291" v="1024" actId="14100"/>
        <pc:sldMkLst>
          <pc:docMk/>
          <pc:sldMk cId="747172435" sldId="2147479601"/>
        </pc:sldMkLst>
        <pc:spChg chg="mod">
          <ac:chgData name="Srivaths Swaminathan" userId="S::srivaths.swaminathan@hgcapital.com::fab820a8-d04c-4fb7-bc62-495e227921e9" providerId="AD" clId="Web-{87D5AE2E-BD89-0B8F-E0E3-4132C67B1E9E}" dt="2023-08-15T10:11:43.395" v="792" actId="20577"/>
          <ac:spMkLst>
            <pc:docMk/>
            <pc:sldMk cId="747172435" sldId="2147479601"/>
            <ac:spMk id="2" creationId="{E095F009-F48C-2687-23C2-E2266D3C074D}"/>
          </ac:spMkLst>
        </pc:spChg>
        <pc:spChg chg="add mod">
          <ac:chgData name="Srivaths Swaminathan" userId="S::srivaths.swaminathan@hgcapital.com::fab820a8-d04c-4fb7-bc62-495e227921e9" providerId="AD" clId="Web-{87D5AE2E-BD89-0B8F-E0E3-4132C67B1E9E}" dt="2023-08-15T10:16:57.291" v="1024" actId="14100"/>
          <ac:spMkLst>
            <pc:docMk/>
            <pc:sldMk cId="747172435" sldId="2147479601"/>
            <ac:spMk id="15" creationId="{ADC41A76-9CB2-1B08-6219-4614D3B0E6AF}"/>
          </ac:spMkLst>
        </pc:spChg>
      </pc:sldChg>
      <pc:sldChg chg="addSp modSp add">
        <pc:chgData name="Srivaths Swaminathan" userId="S::srivaths.swaminathan@hgcapital.com::fab820a8-d04c-4fb7-bc62-495e227921e9" providerId="AD" clId="Web-{87D5AE2E-BD89-0B8F-E0E3-4132C67B1E9E}" dt="2023-08-15T09:18:51.126" v="44" actId="20577"/>
        <pc:sldMkLst>
          <pc:docMk/>
          <pc:sldMk cId="652076815" sldId="2147479602"/>
        </pc:sldMkLst>
        <pc:spChg chg="add mod">
          <ac:chgData name="Srivaths Swaminathan" userId="S::srivaths.swaminathan@hgcapital.com::fab820a8-d04c-4fb7-bc62-495e227921e9" providerId="AD" clId="Web-{87D5AE2E-BD89-0B8F-E0E3-4132C67B1E9E}" dt="2023-08-15T09:18:15.281" v="38" actId="20577"/>
          <ac:spMkLst>
            <pc:docMk/>
            <pc:sldMk cId="652076815" sldId="2147479602"/>
            <ac:spMk id="4" creationId="{869079D2-1F6C-59F4-4A7B-44640B45A50C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18:51.126" v="44" actId="20577"/>
          <ac:spMkLst>
            <pc:docMk/>
            <pc:sldMk cId="652076815" sldId="2147479602"/>
            <ac:spMk id="9" creationId="{42252FFC-F084-124B-03D1-41E82C71D69F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18:46.016" v="42" actId="20577"/>
          <ac:spMkLst>
            <pc:docMk/>
            <pc:sldMk cId="652076815" sldId="2147479602"/>
            <ac:spMk id="12" creationId="{4CD7B958-9FEF-C3C2-71C5-F731D0F0FA13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09:17:33.498" v="8" actId="1076"/>
          <ac:spMkLst>
            <pc:docMk/>
            <pc:sldMk cId="652076815" sldId="2147479602"/>
            <ac:spMk id="25" creationId="{1F5ADB72-FCE8-C8F2-CD2A-ADE0BF580AF7}"/>
          </ac:spMkLst>
        </pc:spChg>
      </pc:sldChg>
      <pc:sldChg chg="addSp delSp modSp add replId">
        <pc:chgData name="Srivaths Swaminathan" userId="S::srivaths.swaminathan@hgcapital.com::fab820a8-d04c-4fb7-bc62-495e227921e9" providerId="AD" clId="Web-{87D5AE2E-BD89-0B8F-E0E3-4132C67B1E9E}" dt="2023-08-15T10:31:50.104" v="1328" actId="20577"/>
        <pc:sldMkLst>
          <pc:docMk/>
          <pc:sldMk cId="1297789210" sldId="2147479603"/>
        </pc:sldMkLst>
        <pc:spChg chg="mod">
          <ac:chgData name="Srivaths Swaminathan" userId="S::srivaths.swaminathan@hgcapital.com::fab820a8-d04c-4fb7-bc62-495e227921e9" providerId="AD" clId="Web-{87D5AE2E-BD89-0B8F-E0E3-4132C67B1E9E}" dt="2023-08-15T09:50:54.622" v="127" actId="20577"/>
          <ac:spMkLst>
            <pc:docMk/>
            <pc:sldMk cId="1297789210" sldId="2147479603"/>
            <ac:spMk id="2" creationId="{E095F009-F48C-2687-23C2-E2266D3C074D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2:08.639" v="189"/>
          <ac:spMkLst>
            <pc:docMk/>
            <pc:sldMk cId="1297789210" sldId="2147479603"/>
            <ac:spMk id="3" creationId="{00A76FAE-87B6-41A1-C519-376C3C28B35F}"/>
          </ac:spMkLst>
        </pc:spChg>
        <pc:spChg chg="add del mod">
          <ac:chgData name="Srivaths Swaminathan" userId="S::srivaths.swaminathan@hgcapital.com::fab820a8-d04c-4fb7-bc62-495e227921e9" providerId="AD" clId="Web-{87D5AE2E-BD89-0B8F-E0E3-4132C67B1E9E}" dt="2023-08-15T10:06:21.904" v="555"/>
          <ac:spMkLst>
            <pc:docMk/>
            <pc:sldMk cId="1297789210" sldId="2147479603"/>
            <ac:spMk id="7" creationId="{B813960F-EAC0-09EC-0AFB-C72312029285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07:17.780" v="598" actId="1076"/>
          <ac:spMkLst>
            <pc:docMk/>
            <pc:sldMk cId="1297789210" sldId="2147479603"/>
            <ac:spMk id="10" creationId="{C41DB2AE-CBFE-F659-8893-8256E66EC87B}"/>
          </ac:spMkLst>
        </pc:spChg>
        <pc:spChg chg="del mod">
          <ac:chgData name="Srivaths Swaminathan" userId="S::srivaths.swaminathan@hgcapital.com::fab820a8-d04c-4fb7-bc62-495e227921e9" providerId="AD" clId="Web-{87D5AE2E-BD89-0B8F-E0E3-4132C67B1E9E}" dt="2023-08-15T10:06:21.920" v="559"/>
          <ac:spMkLst>
            <pc:docMk/>
            <pc:sldMk cId="1297789210" sldId="2147479603"/>
            <ac:spMk id="11" creationId="{41D24EE6-BC76-1A9D-075B-859110CD8C24}"/>
          </ac:spMkLst>
        </pc:spChg>
        <pc:spChg chg="del mod">
          <ac:chgData name="Srivaths Swaminathan" userId="S::srivaths.swaminathan@hgcapital.com::fab820a8-d04c-4fb7-bc62-495e227921e9" providerId="AD" clId="Web-{87D5AE2E-BD89-0B8F-E0E3-4132C67B1E9E}" dt="2023-08-15T10:06:21.920" v="558"/>
          <ac:spMkLst>
            <pc:docMk/>
            <pc:sldMk cId="1297789210" sldId="2147479603"/>
            <ac:spMk id="13" creationId="{7446E659-F665-CBD9-6796-0A3FD55F4C3A}"/>
          </ac:spMkLst>
        </pc:spChg>
        <pc:spChg chg="del mod">
          <ac:chgData name="Srivaths Swaminathan" userId="S::srivaths.swaminathan@hgcapital.com::fab820a8-d04c-4fb7-bc62-495e227921e9" providerId="AD" clId="Web-{87D5AE2E-BD89-0B8F-E0E3-4132C67B1E9E}" dt="2023-08-15T10:06:21.920" v="557"/>
          <ac:spMkLst>
            <pc:docMk/>
            <pc:sldMk cId="1297789210" sldId="2147479603"/>
            <ac:spMk id="14" creationId="{11D72856-26EE-20B0-0448-44197C13C391}"/>
          </ac:spMkLst>
        </pc:spChg>
        <pc:spChg chg="del mod">
          <ac:chgData name="Srivaths Swaminathan" userId="S::srivaths.swaminathan@hgcapital.com::fab820a8-d04c-4fb7-bc62-495e227921e9" providerId="AD" clId="Web-{87D5AE2E-BD89-0B8F-E0E3-4132C67B1E9E}" dt="2023-08-15T10:06:21.920" v="556"/>
          <ac:spMkLst>
            <pc:docMk/>
            <pc:sldMk cId="1297789210" sldId="2147479603"/>
            <ac:spMk id="15" creationId="{951EC86C-7AA9-9BA2-B9B6-01D23C423992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1:30.873" v="158"/>
          <ac:spMkLst>
            <pc:docMk/>
            <pc:sldMk cId="1297789210" sldId="2147479603"/>
            <ac:spMk id="19" creationId="{536E15A8-17F3-8F27-99D4-9033EBEB84D7}"/>
          </ac:spMkLst>
        </pc:spChg>
        <pc:spChg chg="add mod">
          <ac:chgData name="Srivaths Swaminathan" userId="S::srivaths.swaminathan@hgcapital.com::fab820a8-d04c-4fb7-bc62-495e227921e9" providerId="AD" clId="Web-{87D5AE2E-BD89-0B8F-E0E3-4132C67B1E9E}" dt="2023-08-15T10:31:50.104" v="1328" actId="20577"/>
          <ac:spMkLst>
            <pc:docMk/>
            <pc:sldMk cId="1297789210" sldId="2147479603"/>
            <ac:spMk id="960" creationId="{4C2E0380-3491-08FE-B1FE-845536AB98CB}"/>
          </ac:spMkLst>
        </pc:spChg>
        <pc:graphicFrameChg chg="del mod modGraphic">
          <ac:chgData name="Srivaths Swaminathan" userId="S::srivaths.swaminathan@hgcapital.com::fab820a8-d04c-4fb7-bc62-495e227921e9" providerId="AD" clId="Web-{87D5AE2E-BD89-0B8F-E0E3-4132C67B1E9E}" dt="2023-08-15T10:03:14.088" v="485"/>
          <ac:graphicFrameMkLst>
            <pc:docMk/>
            <pc:sldMk cId="1297789210" sldId="2147479603"/>
            <ac:graphicFrameMk id="9" creationId="{769C34BA-58EC-14C3-88E8-2829942397C3}"/>
          </ac:graphicFrameMkLst>
        </pc:graphicFrameChg>
        <pc:graphicFrameChg chg="add mod modGraphic">
          <ac:chgData name="Srivaths Swaminathan" userId="S::srivaths.swaminathan@hgcapital.com::fab820a8-d04c-4fb7-bc62-495e227921e9" providerId="AD" clId="Web-{87D5AE2E-BD89-0B8F-E0E3-4132C67B1E9E}" dt="2023-08-15T10:07:03.749" v="587" actId="20577"/>
          <ac:graphicFrameMkLst>
            <pc:docMk/>
            <pc:sldMk cId="1297789210" sldId="2147479603"/>
            <ac:graphicFrameMk id="17" creationId="{EBF25511-D97E-965D-F1AD-A9127EEA2386}"/>
          </ac:graphicFrameMkLst>
        </pc:graphicFrameChg>
        <pc:graphicFrameChg chg="add mod modGraphic">
          <ac:chgData name="Srivaths Swaminathan" userId="S::srivaths.swaminathan@hgcapital.com::fab820a8-d04c-4fb7-bc62-495e227921e9" providerId="AD" clId="Web-{87D5AE2E-BD89-0B8F-E0E3-4132C67B1E9E}" dt="2023-08-15T10:31:32.557" v="1320"/>
          <ac:graphicFrameMkLst>
            <pc:docMk/>
            <pc:sldMk cId="1297789210" sldId="2147479603"/>
            <ac:graphicFrameMk id="959" creationId="{BCE895D5-EC9E-711B-4487-D1B7BBFD8420}"/>
          </ac:graphicFrameMkLst>
        </pc:graphicFrameChg>
        <pc:picChg chg="del">
          <ac:chgData name="Srivaths Swaminathan" userId="S::srivaths.swaminathan@hgcapital.com::fab820a8-d04c-4fb7-bc62-495e227921e9" providerId="AD" clId="Web-{87D5AE2E-BD89-0B8F-E0E3-4132C67B1E9E}" dt="2023-08-15T09:52:08.639" v="188"/>
          <ac:picMkLst>
            <pc:docMk/>
            <pc:sldMk cId="1297789210" sldId="2147479603"/>
            <ac:picMk id="4" creationId="{1ACA34DB-7019-ECA6-886F-88C8406C88B2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52:01.451" v="186"/>
          <ac:picMkLst>
            <pc:docMk/>
            <pc:sldMk cId="1297789210" sldId="2147479603"/>
            <ac:picMk id="6" creationId="{286999AA-D283-0D9B-3A40-673D9AA5FACF}"/>
          </ac:picMkLst>
        </pc:picChg>
        <pc:picChg chg="del">
          <ac:chgData name="Srivaths Swaminathan" userId="S::srivaths.swaminathan@hgcapital.com::fab820a8-d04c-4fb7-bc62-495e227921e9" providerId="AD" clId="Web-{87D5AE2E-BD89-0B8F-E0E3-4132C67B1E9E}" dt="2023-08-15T09:52:03.342" v="187"/>
          <ac:picMkLst>
            <pc:docMk/>
            <pc:sldMk cId="1297789210" sldId="2147479603"/>
            <ac:picMk id="16" creationId="{AC54C802-48C3-3276-DB59-3B6D79767C53}"/>
          </ac:picMkLst>
        </pc:picChg>
      </pc:sldChg>
      <pc:sldChg chg="addSp delSp modSp add replId">
        <pc:chgData name="Srivaths Swaminathan" userId="S::srivaths.swaminathan@hgcapital.com::fab820a8-d04c-4fb7-bc62-495e227921e9" providerId="AD" clId="Web-{87D5AE2E-BD89-0B8F-E0E3-4132C67B1E9E}" dt="2023-08-15T10:19:35.356" v="1104" actId="14100"/>
        <pc:sldMkLst>
          <pc:docMk/>
          <pc:sldMk cId="4010332852" sldId="2147479604"/>
        </pc:sldMkLst>
        <pc:spChg chg="mod">
          <ac:chgData name="Srivaths Swaminathan" userId="S::srivaths.swaminathan@hgcapital.com::fab820a8-d04c-4fb7-bc62-495e227921e9" providerId="AD" clId="Web-{87D5AE2E-BD89-0B8F-E0E3-4132C67B1E9E}" dt="2023-08-15T09:53:39.781" v="210" actId="20577"/>
          <ac:spMkLst>
            <pc:docMk/>
            <pc:sldMk cId="4010332852" sldId="2147479604"/>
            <ac:spMk id="2" creationId="{E095F009-F48C-2687-23C2-E2266D3C074D}"/>
          </ac:spMkLst>
        </pc:spChg>
        <pc:spChg chg="add mod">
          <ac:chgData name="Srivaths Swaminathan" userId="S::srivaths.swaminathan@hgcapital.com::fab820a8-d04c-4fb7-bc62-495e227921e9" providerId="AD" clId="Web-{87D5AE2E-BD89-0B8F-E0E3-4132C67B1E9E}" dt="2023-08-15T10:19:35.356" v="1104" actId="14100"/>
          <ac:spMkLst>
            <pc:docMk/>
            <pc:sldMk cId="4010332852" sldId="2147479604"/>
            <ac:spMk id="4" creationId="{1F69087E-2118-B032-7043-20AEEB648D16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50.360" v="218"/>
          <ac:spMkLst>
            <pc:docMk/>
            <pc:sldMk cId="4010332852" sldId="2147479604"/>
            <ac:spMk id="5" creationId="{B01EB8F4-73D1-F46D-7C00-66E622D3F678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06" v="211"/>
          <ac:spMkLst>
            <pc:docMk/>
            <pc:sldMk cId="4010332852" sldId="2147479604"/>
            <ac:spMk id="7" creationId="{B813960F-EAC0-09EC-0AFB-C72312029285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22" v="212"/>
          <ac:spMkLst>
            <pc:docMk/>
            <pc:sldMk cId="4010332852" sldId="2147479604"/>
            <ac:spMk id="10" creationId="{C41DB2AE-CBFE-F659-8893-8256E66EC87B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22" v="216"/>
          <ac:spMkLst>
            <pc:docMk/>
            <pc:sldMk cId="4010332852" sldId="2147479604"/>
            <ac:spMk id="11" creationId="{41D24EE6-BC76-1A9D-075B-859110CD8C24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22" v="215"/>
          <ac:spMkLst>
            <pc:docMk/>
            <pc:sldMk cId="4010332852" sldId="2147479604"/>
            <ac:spMk id="13" creationId="{7446E659-F665-CBD9-6796-0A3FD55F4C3A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22" v="214"/>
          <ac:spMkLst>
            <pc:docMk/>
            <pc:sldMk cId="4010332852" sldId="2147479604"/>
            <ac:spMk id="14" creationId="{11D72856-26EE-20B0-0448-44197C13C391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09:53:44.922" v="213"/>
          <ac:spMkLst>
            <pc:docMk/>
            <pc:sldMk cId="4010332852" sldId="2147479604"/>
            <ac:spMk id="15" creationId="{951EC86C-7AA9-9BA2-B9B6-01D23C423992}"/>
          </ac:spMkLst>
        </pc:spChg>
        <pc:graphicFrameChg chg="del">
          <ac:chgData name="Srivaths Swaminathan" userId="S::srivaths.swaminathan@hgcapital.com::fab820a8-d04c-4fb7-bc62-495e227921e9" providerId="AD" clId="Web-{87D5AE2E-BD89-0B8F-E0E3-4132C67B1E9E}" dt="2023-08-15T09:53:44.922" v="217"/>
          <ac:graphicFrameMkLst>
            <pc:docMk/>
            <pc:sldMk cId="4010332852" sldId="2147479604"/>
            <ac:graphicFrameMk id="9" creationId="{769C34BA-58EC-14C3-88E8-2829942397C3}"/>
          </ac:graphicFrameMkLst>
        </pc:graphicFrameChg>
      </pc:sldChg>
      <pc:sldChg chg="modSp new">
        <pc:chgData name="Srivaths Swaminathan" userId="S::srivaths.swaminathan@hgcapital.com::fab820a8-d04c-4fb7-bc62-495e227921e9" providerId="AD" clId="Web-{87D5AE2E-BD89-0B8F-E0E3-4132C67B1E9E}" dt="2023-08-15T10:15:17.555" v="960" actId="20577"/>
        <pc:sldMkLst>
          <pc:docMk/>
          <pc:sldMk cId="3869696896" sldId="2147479605"/>
        </pc:sldMkLst>
        <pc:spChg chg="mod">
          <ac:chgData name="Srivaths Swaminathan" userId="S::srivaths.swaminathan@hgcapital.com::fab820a8-d04c-4fb7-bc62-495e227921e9" providerId="AD" clId="Web-{87D5AE2E-BD89-0B8F-E0E3-4132C67B1E9E}" dt="2023-08-15T10:15:17.555" v="960" actId="20577"/>
          <ac:spMkLst>
            <pc:docMk/>
            <pc:sldMk cId="3869696896" sldId="2147479605"/>
            <ac:spMk id="2" creationId="{481CB157-3BB7-FF88-2269-A356B94101D1}"/>
          </ac:spMkLst>
        </pc:spChg>
      </pc:sldChg>
      <pc:sldChg chg="delSp modSp add replId">
        <pc:chgData name="Srivaths Swaminathan" userId="S::srivaths.swaminathan@hgcapital.com::fab820a8-d04c-4fb7-bc62-495e227921e9" providerId="AD" clId="Web-{87D5AE2E-BD89-0B8F-E0E3-4132C67B1E9E}" dt="2023-08-15T10:16:23.696" v="1007" actId="14100"/>
        <pc:sldMkLst>
          <pc:docMk/>
          <pc:sldMk cId="1613283245" sldId="2147479606"/>
        </pc:sldMkLst>
        <pc:spChg chg="mod">
          <ac:chgData name="Srivaths Swaminathan" userId="S::srivaths.swaminathan@hgcapital.com::fab820a8-d04c-4fb7-bc62-495e227921e9" providerId="AD" clId="Web-{87D5AE2E-BD89-0B8F-E0E3-4132C67B1E9E}" dt="2023-08-15T10:16:23.696" v="1007" actId="14100"/>
          <ac:spMkLst>
            <pc:docMk/>
            <pc:sldMk cId="1613283245" sldId="2147479606"/>
            <ac:spMk id="2" creationId="{E095F009-F48C-2687-23C2-E2266D3C074D}"/>
          </ac:spMkLst>
        </pc:spChg>
        <pc:spChg chg="del">
          <ac:chgData name="Srivaths Swaminathan" userId="S::srivaths.swaminathan@hgcapital.com::fab820a8-d04c-4fb7-bc62-495e227921e9" providerId="AD" clId="Web-{87D5AE2E-BD89-0B8F-E0E3-4132C67B1E9E}" dt="2023-08-15T10:16:16.587" v="1005"/>
          <ac:spMkLst>
            <pc:docMk/>
            <pc:sldMk cId="1613283245" sldId="2147479606"/>
            <ac:spMk id="15" creationId="{ADC41A76-9CB2-1B08-6219-4614D3B0E6AF}"/>
          </ac:spMkLst>
        </pc:spChg>
        <pc:spChg chg="mod">
          <ac:chgData name="Srivaths Swaminathan" userId="S::srivaths.swaminathan@hgcapital.com::fab820a8-d04c-4fb7-bc62-495e227921e9" providerId="AD" clId="Web-{87D5AE2E-BD89-0B8F-E0E3-4132C67B1E9E}" dt="2023-08-15T10:16:12.915" v="1004" actId="20577"/>
          <ac:spMkLst>
            <pc:docMk/>
            <pc:sldMk cId="1613283245" sldId="2147479606"/>
            <ac:spMk id="1308" creationId="{CA2A74AB-6313-57FE-73E8-1F2401C1A978}"/>
          </ac:spMkLst>
        </pc:spChg>
        <pc:graphicFrameChg chg="del">
          <ac:chgData name="Srivaths Swaminathan" userId="S::srivaths.swaminathan@hgcapital.com::fab820a8-d04c-4fb7-bc62-495e227921e9" providerId="AD" clId="Web-{87D5AE2E-BD89-0B8F-E0E3-4132C67B1E9E}" dt="2023-08-15T10:16:18.868" v="1006"/>
          <ac:graphicFrameMkLst>
            <pc:docMk/>
            <pc:sldMk cId="1613283245" sldId="2147479606"/>
            <ac:graphicFrameMk id="13" creationId="{F106D75A-020C-7B0C-3D25-CC576D300A8B}"/>
          </ac:graphicFrameMkLst>
        </pc:graphicFrameChg>
      </pc:sldChg>
      <pc:sldChg chg="add del replId">
        <pc:chgData name="Srivaths Swaminathan" userId="S::srivaths.swaminathan@hgcapital.com::fab820a8-d04c-4fb7-bc62-495e227921e9" providerId="AD" clId="Web-{87D5AE2E-BD89-0B8F-E0E3-4132C67B1E9E}" dt="2023-08-15T10:29:22.007" v="1232"/>
        <pc:sldMkLst>
          <pc:docMk/>
          <pc:sldMk cId="567263467" sldId="2147479607"/>
        </pc:sldMkLst>
      </pc:sldChg>
      <pc:sldMasterChg chg="add addSldLayout">
        <pc:chgData name="Srivaths Swaminathan" userId="S::srivaths.swaminathan@hgcapital.com::fab820a8-d04c-4fb7-bc62-495e227921e9" providerId="AD" clId="Web-{87D5AE2E-BD89-0B8F-E0E3-4132C67B1E9E}" dt="2023-08-15T09:16:54.169" v="0"/>
        <pc:sldMasterMkLst>
          <pc:docMk/>
          <pc:sldMasterMk cId="1846925173" sldId="2147483846"/>
        </pc:sldMasterMkLst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202947702" sldId="2147483847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931351731" sldId="2147483848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858650088" sldId="2147483849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765532530" sldId="2147483850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784788848" sldId="2147483851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887197298" sldId="2147483852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393917814" sldId="2147483853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775282643" sldId="2147483854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97218241" sldId="2147483855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136750974" sldId="2147483856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3443757807" sldId="2147483857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203136718" sldId="2147483858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931436130" sldId="2147483859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3143423771" sldId="2147483860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195319535" sldId="2147483861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2113221183" sldId="2147483862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1915613372" sldId="2147483863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244748347" sldId="2147483864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169626220" sldId="2147483865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4238455035" sldId="2147483866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1198652703" sldId="2147483867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1706139785" sldId="2147483868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1945634515" sldId="2147483869"/>
          </pc:sldLayoutMkLst>
        </pc:sldLayoutChg>
        <pc:sldLayoutChg chg="ad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846925173" sldId="2147483846"/>
            <pc:sldLayoutMk cId="890878068" sldId="2147483870"/>
          </pc:sldLayoutMkLst>
        </pc:sldLayoutChg>
      </pc:sldMasterChg>
      <pc:sldMasterChg chg="replId modSldLayout">
        <pc:chgData name="Srivaths Swaminathan" userId="S::srivaths.swaminathan@hgcapital.com::fab820a8-d04c-4fb7-bc62-495e227921e9" providerId="AD" clId="Web-{87D5AE2E-BD89-0B8F-E0E3-4132C67B1E9E}" dt="2023-08-15T09:16:54.169" v="0"/>
        <pc:sldMasterMkLst>
          <pc:docMk/>
          <pc:sldMasterMk cId="1627888042" sldId="2147483871"/>
        </pc:sldMasterMkLst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403059799" sldId="2147483872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418171750" sldId="2147483873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117631687" sldId="2147483874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947049879" sldId="2147483875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907461986" sldId="2147483876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85583874" sldId="2147483877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964723403" sldId="2147483878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36253064" sldId="2147483879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863455401" sldId="2147483880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860264128" sldId="2147483881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682483124" sldId="2147483882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030467135" sldId="2147483883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362971940" sldId="2147483884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921819386" sldId="2147483885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539066876" sldId="2147483886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4062279118" sldId="2147483887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769831032" sldId="2147483888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1606472122" sldId="2147483889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774021335" sldId="2147483890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549798578" sldId="2147483891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844449909" sldId="2147483892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951772600" sldId="2147483893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2835020596" sldId="2147483894"/>
          </pc:sldLayoutMkLst>
        </pc:sldLayoutChg>
        <pc:sldLayoutChg chg="replId">
          <pc:chgData name="Srivaths Swaminathan" userId="S::srivaths.swaminathan@hgcapital.com::fab820a8-d04c-4fb7-bc62-495e227921e9" providerId="AD" clId="Web-{87D5AE2E-BD89-0B8F-E0E3-4132C67B1E9E}" dt="2023-08-15T09:16:54.169" v="0"/>
          <pc:sldLayoutMkLst>
            <pc:docMk/>
            <pc:sldMasterMk cId="1627888042" sldId="2147483871"/>
            <pc:sldLayoutMk cId="3809652835" sldId="2147483895"/>
          </pc:sldLayoutMkLst>
        </pc:sldLayoutChg>
      </pc:sldMasterChg>
    </pc:docChg>
  </pc:docChgLst>
  <pc:docChgLst>
    <pc:chgData name="Srivaths Swaminathan" userId="fab820a8-d04c-4fb7-bc62-495e227921e9" providerId="ADAL" clId="{7BA84AA0-DF91-44A9-A18C-3379702B0E32}"/>
    <pc:docChg chg="undo redo custSel addSld delSld modSld sldOrd delMainMaster replTag">
      <pc:chgData name="Srivaths Swaminathan" userId="fab820a8-d04c-4fb7-bc62-495e227921e9" providerId="ADAL" clId="{7BA84AA0-DF91-44A9-A18C-3379702B0E32}" dt="2023-09-07T09:31:29.677" v="37136"/>
      <pc:docMkLst>
        <pc:docMk/>
      </pc:docMkLst>
      <pc:sldChg chg="addCm delCm">
        <pc:chgData name="Srivaths Swaminathan" userId="fab820a8-d04c-4fb7-bc62-495e227921e9" providerId="ADAL" clId="{7BA84AA0-DF91-44A9-A18C-3379702B0E32}" dt="2023-08-30T17:07:15.333" v="28711"/>
        <pc:sldMkLst>
          <pc:docMk/>
          <pc:sldMk cId="3361998970" sldId="25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Srivaths Swaminathan" userId="fab820a8-d04c-4fb7-bc62-495e227921e9" providerId="ADAL" clId="{7BA84AA0-DF91-44A9-A18C-3379702B0E32}" dt="2023-08-30T17:07:15.333" v="28711"/>
              <pc2:cmMkLst xmlns:pc2="http://schemas.microsoft.com/office/powerpoint/2019/9/main/command">
                <pc:docMk/>
                <pc:sldMk cId="3361998970" sldId="258"/>
                <pc2:cmMk id="{7259C34B-DA2A-4D19-9805-142D587A357E}"/>
              </pc2:cmMkLst>
            </pc226:cmChg>
          </p:ext>
        </pc:extLst>
      </pc:sldChg>
      <pc:sldChg chg="addSp delSp modSp add mod setBg delAnim delCm modCm">
        <pc:chgData name="Srivaths Swaminathan" userId="fab820a8-d04c-4fb7-bc62-495e227921e9" providerId="ADAL" clId="{7BA84AA0-DF91-44A9-A18C-3379702B0E32}" dt="2023-08-30T17:46:20.225" v="28926" actId="1037"/>
        <pc:sldMkLst>
          <pc:docMk/>
          <pc:sldMk cId="82188278" sldId="299"/>
        </pc:sldMkLst>
        <pc:spChg chg="add del mod modVis">
          <ac:chgData name="Srivaths Swaminathan" userId="fab820a8-d04c-4fb7-bc62-495e227921e9" providerId="ADAL" clId="{7BA84AA0-DF91-44A9-A18C-3379702B0E32}" dt="2023-08-23T09:45:01.099" v="20114" actId="962"/>
          <ac:spMkLst>
            <pc:docMk/>
            <pc:sldMk cId="82188278" sldId="299"/>
            <ac:spMk id="3" creationId="{730A59AA-1CEA-DC89-4EAA-ACFBCA77EFD8}"/>
          </ac:spMkLst>
        </pc:spChg>
        <pc:spChg chg="add del mod modVis">
          <ac:chgData name="Srivaths Swaminathan" userId="fab820a8-d04c-4fb7-bc62-495e227921e9" providerId="ADAL" clId="{7BA84AA0-DF91-44A9-A18C-3379702B0E32}" dt="2023-08-17T16:00:29.506" v="6455"/>
          <ac:spMkLst>
            <pc:docMk/>
            <pc:sldMk cId="82188278" sldId="299"/>
            <ac:spMk id="3" creationId="{9B5B53F5-FB0E-C744-E39C-913F58013621}"/>
          </ac:spMkLst>
        </pc:spChg>
        <pc:spChg chg="add del mod modVis">
          <ac:chgData name="Srivaths Swaminathan" userId="fab820a8-d04c-4fb7-bc62-495e227921e9" providerId="ADAL" clId="{7BA84AA0-DF91-44A9-A18C-3379702B0E32}" dt="2023-08-25T15:05:07.965" v="27074"/>
          <ac:spMkLst>
            <pc:docMk/>
            <pc:sldMk cId="82188278" sldId="299"/>
            <ac:spMk id="3" creationId="{A5ECBEBF-3193-1E60-5B4F-8EAA64402FFA}"/>
          </ac:spMkLst>
        </pc:spChg>
        <pc:spChg chg="add del mod modVis">
          <ac:chgData name="Srivaths Swaminathan" userId="fab820a8-d04c-4fb7-bc62-495e227921e9" providerId="ADAL" clId="{7BA84AA0-DF91-44A9-A18C-3379702B0E32}" dt="2023-08-23T09:45:00.404" v="20086" actId="962"/>
          <ac:spMkLst>
            <pc:docMk/>
            <pc:sldMk cId="82188278" sldId="299"/>
            <ac:spMk id="4" creationId="{2D33B063-84EF-0062-2DDE-C8F243FB5CF9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4" creationId="{F2E2D27E-D80E-F2FC-FE7C-460A1836C3E2}"/>
          </ac:spMkLst>
        </pc:spChg>
        <pc:spChg chg="add del mod modVis">
          <ac:chgData name="Srivaths Swaminathan" userId="fab820a8-d04c-4fb7-bc62-495e227921e9" providerId="ADAL" clId="{7BA84AA0-DF91-44A9-A18C-3379702B0E32}" dt="2023-08-17T16:00:31.235" v="6487"/>
          <ac:spMkLst>
            <pc:docMk/>
            <pc:sldMk cId="82188278" sldId="299"/>
            <ac:spMk id="5" creationId="{022D759D-7594-61BA-93A8-B9C17F3B635C}"/>
          </ac:spMkLst>
        </pc:spChg>
        <pc:spChg chg="add del mod modVis">
          <ac:chgData name="Srivaths Swaminathan" userId="fab820a8-d04c-4fb7-bc62-495e227921e9" providerId="ADAL" clId="{7BA84AA0-DF91-44A9-A18C-3379702B0E32}" dt="2023-08-23T09:45:03.333" v="20144"/>
          <ac:spMkLst>
            <pc:docMk/>
            <pc:sldMk cId="82188278" sldId="299"/>
            <ac:spMk id="5" creationId="{C92D8293-7886-ECCD-BDBF-DA4CFF821AD4}"/>
          </ac:spMkLst>
        </pc:spChg>
        <pc:spChg chg="mod ord">
          <ac:chgData name="Srivaths Swaminathan" userId="fab820a8-d04c-4fb7-bc62-495e227921e9" providerId="ADAL" clId="{7BA84AA0-DF91-44A9-A18C-3379702B0E32}" dt="2023-08-25T15:05:07.941" v="27042"/>
          <ac:spMkLst>
            <pc:docMk/>
            <pc:sldMk cId="82188278" sldId="299"/>
            <ac:spMk id="6" creationId="{612FFA73-06FD-DCE3-7FFE-CD68052F1C04}"/>
          </ac:spMkLst>
        </pc:spChg>
        <pc:spChg chg="add del mod modVis">
          <ac:chgData name="Srivaths Swaminathan" userId="fab820a8-d04c-4fb7-bc62-495e227921e9" providerId="ADAL" clId="{7BA84AA0-DF91-44A9-A18C-3379702B0E32}" dt="2023-08-23T09:45:08.682" v="20198"/>
          <ac:spMkLst>
            <pc:docMk/>
            <pc:sldMk cId="82188278" sldId="299"/>
            <ac:spMk id="7" creationId="{1DD388D6-E8E6-958F-C952-8A4592171685}"/>
          </ac:spMkLst>
        </pc:spChg>
        <pc:spChg chg="del">
          <ac:chgData name="Srivaths Swaminathan" userId="fab820a8-d04c-4fb7-bc62-495e227921e9" providerId="ADAL" clId="{7BA84AA0-DF91-44A9-A18C-3379702B0E32}" dt="2023-08-17T16:01:03.216" v="6896" actId="478"/>
          <ac:spMkLst>
            <pc:docMk/>
            <pc:sldMk cId="82188278" sldId="299"/>
            <ac:spMk id="7" creationId="{A984F174-5CE5-8EC2-57BF-F6016E9F6844}"/>
          </ac:spMkLst>
        </pc:spChg>
        <pc:spChg chg="add del mod modVis">
          <ac:chgData name="Srivaths Swaminathan" userId="fab820a8-d04c-4fb7-bc62-495e227921e9" providerId="ADAL" clId="{7BA84AA0-DF91-44A9-A18C-3379702B0E32}" dt="2023-08-23T09:47:16.034" v="20308"/>
          <ac:spMkLst>
            <pc:docMk/>
            <pc:sldMk cId="82188278" sldId="299"/>
            <ac:spMk id="8" creationId="{04087C16-309D-8F5A-8311-DE58EC883A95}"/>
          </ac:spMkLst>
        </pc:spChg>
        <pc:spChg chg="add del mod modVis">
          <ac:chgData name="Srivaths Swaminathan" userId="fab820a8-d04c-4fb7-bc62-495e227921e9" providerId="ADAL" clId="{7BA84AA0-DF91-44A9-A18C-3379702B0E32}" dt="2023-08-17T16:00:35.069" v="6516"/>
          <ac:spMkLst>
            <pc:docMk/>
            <pc:sldMk cId="82188278" sldId="299"/>
            <ac:spMk id="8" creationId="{B0B7C806-8D7D-403D-7941-5550A3715213}"/>
          </ac:spMkLst>
        </pc:spChg>
        <pc:spChg chg="add del mod modVis">
          <ac:chgData name="Srivaths Swaminathan" userId="fab820a8-d04c-4fb7-bc62-495e227921e9" providerId="ADAL" clId="{7BA84AA0-DF91-44A9-A18C-3379702B0E32}" dt="2023-08-23T09:48:15.713" v="20341"/>
          <ac:spMkLst>
            <pc:docMk/>
            <pc:sldMk cId="82188278" sldId="299"/>
            <ac:spMk id="9" creationId="{65F0DD01-EF85-A2F6-202D-7021B6821F4A}"/>
          </ac:spMkLst>
        </pc:spChg>
        <pc:spChg chg="add del mod modVis">
          <ac:chgData name="Srivaths Swaminathan" userId="fab820a8-d04c-4fb7-bc62-495e227921e9" providerId="ADAL" clId="{7BA84AA0-DF91-44A9-A18C-3379702B0E32}" dt="2023-08-17T16:00:36.129" v="6545"/>
          <ac:spMkLst>
            <pc:docMk/>
            <pc:sldMk cId="82188278" sldId="299"/>
            <ac:spMk id="10" creationId="{52E8BE9B-CD1C-AA32-32BD-0D52B59F4906}"/>
          </ac:spMkLst>
        </pc:spChg>
        <pc:spChg chg="add del mod modVis">
          <ac:chgData name="Srivaths Swaminathan" userId="fab820a8-d04c-4fb7-bc62-495e227921e9" providerId="ADAL" clId="{7BA84AA0-DF91-44A9-A18C-3379702B0E32}" dt="2023-08-23T09:48:49.660" v="20402"/>
          <ac:spMkLst>
            <pc:docMk/>
            <pc:sldMk cId="82188278" sldId="299"/>
            <ac:spMk id="10" creationId="{54421A40-6E20-082B-01BD-CBF9CB879DF1}"/>
          </ac:spMkLst>
        </pc:spChg>
        <pc:spChg chg="add mod ord">
          <ac:chgData name="Srivaths Swaminathan" userId="fab820a8-d04c-4fb7-bc62-495e227921e9" providerId="ADAL" clId="{7BA84AA0-DF91-44A9-A18C-3379702B0E32}" dt="2023-08-25T15:05:07.962" v="27070"/>
          <ac:spMkLst>
            <pc:docMk/>
            <pc:sldMk cId="82188278" sldId="299"/>
            <ac:spMk id="11" creationId="{4DF31982-EB09-DE0E-55D5-B28B9A98D598}"/>
          </ac:spMkLst>
        </pc:spChg>
        <pc:spChg chg="add del mod modVis">
          <ac:chgData name="Srivaths Swaminathan" userId="fab820a8-d04c-4fb7-bc62-495e227921e9" providerId="ADAL" clId="{7BA84AA0-DF91-44A9-A18C-3379702B0E32}" dt="2023-08-17T16:00:37.766" v="6576"/>
          <ac:spMkLst>
            <pc:docMk/>
            <pc:sldMk cId="82188278" sldId="299"/>
            <ac:spMk id="11" creationId="{88FACDC2-454B-6BF3-9910-290498EA3902}"/>
          </ac:spMkLst>
        </pc:spChg>
        <pc:spChg chg="add del mod modVis">
          <ac:chgData name="Srivaths Swaminathan" userId="fab820a8-d04c-4fb7-bc62-495e227921e9" providerId="ADAL" clId="{7BA84AA0-DF91-44A9-A18C-3379702B0E32}" dt="2023-08-17T16:00:38.901" v="6605"/>
          <ac:spMkLst>
            <pc:docMk/>
            <pc:sldMk cId="82188278" sldId="299"/>
            <ac:spMk id="12" creationId="{3C63CE9C-7CC6-5151-91CD-04E73D4ECB1B}"/>
          </ac:spMkLst>
        </pc:spChg>
        <pc:spChg chg="add del mod modVis">
          <ac:chgData name="Srivaths Swaminathan" userId="fab820a8-d04c-4fb7-bc62-495e227921e9" providerId="ADAL" clId="{7BA84AA0-DF91-44A9-A18C-3379702B0E32}" dt="2023-08-17T16:00:42.321" v="6653"/>
          <ac:spMkLst>
            <pc:docMk/>
            <pc:sldMk cId="82188278" sldId="299"/>
            <ac:spMk id="13" creationId="{D2614F00-4A85-D8E0-9BDA-22B5E5B54E0C}"/>
          </ac:spMkLst>
        </pc:spChg>
        <pc:spChg chg="add del mod modVis">
          <ac:chgData name="Srivaths Swaminathan" userId="fab820a8-d04c-4fb7-bc62-495e227921e9" providerId="ADAL" clId="{7BA84AA0-DF91-44A9-A18C-3379702B0E32}" dt="2023-08-17T16:00:42.953" v="6681"/>
          <ac:spMkLst>
            <pc:docMk/>
            <pc:sldMk cId="82188278" sldId="299"/>
            <ac:spMk id="14" creationId="{ADF8B185-3824-5DDF-6C50-E9549B838348}"/>
          </ac:spMkLst>
        </pc:spChg>
        <pc:spChg chg="add del mod modVis">
          <ac:chgData name="Srivaths Swaminathan" userId="fab820a8-d04c-4fb7-bc62-495e227921e9" providerId="ADAL" clId="{7BA84AA0-DF91-44A9-A18C-3379702B0E32}" dt="2023-08-17T16:00:43.600" v="6709"/>
          <ac:spMkLst>
            <pc:docMk/>
            <pc:sldMk cId="82188278" sldId="299"/>
            <ac:spMk id="15" creationId="{C9F4CDB3-3C81-FC78-9DC9-43CCD81A9FF8}"/>
          </ac:spMkLst>
        </pc:spChg>
        <pc:spChg chg="add del mod modVis">
          <ac:chgData name="Srivaths Swaminathan" userId="fab820a8-d04c-4fb7-bc62-495e227921e9" providerId="ADAL" clId="{7BA84AA0-DF91-44A9-A18C-3379702B0E32}" dt="2023-08-17T16:00:50.068" v="6753"/>
          <ac:spMkLst>
            <pc:docMk/>
            <pc:sldMk cId="82188278" sldId="299"/>
            <ac:spMk id="16" creationId="{54CE0090-D1B1-94C3-FD88-6480EB3EF423}"/>
          </ac:spMkLst>
        </pc:spChg>
        <pc:spChg chg="add del mod modVis">
          <ac:chgData name="Srivaths Swaminathan" userId="fab820a8-d04c-4fb7-bc62-495e227921e9" providerId="ADAL" clId="{7BA84AA0-DF91-44A9-A18C-3379702B0E32}" dt="2023-08-17T16:00:52.838" v="6792"/>
          <ac:spMkLst>
            <pc:docMk/>
            <pc:sldMk cId="82188278" sldId="299"/>
            <ac:spMk id="17" creationId="{655D048A-F017-0090-CBC2-9CFA2F666F9A}"/>
          </ac:spMkLst>
        </pc:spChg>
        <pc:spChg chg="add del mod modVis">
          <ac:chgData name="Srivaths Swaminathan" userId="fab820a8-d04c-4fb7-bc62-495e227921e9" providerId="ADAL" clId="{7BA84AA0-DF91-44A9-A18C-3379702B0E32}" dt="2023-08-17T16:00:53.125" v="6822"/>
          <ac:spMkLst>
            <pc:docMk/>
            <pc:sldMk cId="82188278" sldId="299"/>
            <ac:spMk id="18" creationId="{F58D79E5-E647-CBDD-7D77-95B07AA28E4A}"/>
          </ac:spMkLst>
        </pc:spChg>
        <pc:spChg chg="add del mod modVis">
          <ac:chgData name="Srivaths Swaminathan" userId="fab820a8-d04c-4fb7-bc62-495e227921e9" providerId="ADAL" clId="{7BA84AA0-DF91-44A9-A18C-3379702B0E32}" dt="2023-08-17T16:00:55.444" v="6862"/>
          <ac:spMkLst>
            <pc:docMk/>
            <pc:sldMk cId="82188278" sldId="299"/>
            <ac:spMk id="19" creationId="{26BF81A9-88FB-3436-CD7F-498011A18625}"/>
          </ac:spMkLst>
        </pc:spChg>
        <pc:spChg chg="add del mod modVis">
          <ac:chgData name="Srivaths Swaminathan" userId="fab820a8-d04c-4fb7-bc62-495e227921e9" providerId="ADAL" clId="{7BA84AA0-DF91-44A9-A18C-3379702B0E32}" dt="2023-08-17T16:00:59.204" v="6893"/>
          <ac:spMkLst>
            <pc:docMk/>
            <pc:sldMk cId="82188278" sldId="299"/>
            <ac:spMk id="20" creationId="{F962A55A-1BB9-FFF5-F716-DFD3699C3FFC}"/>
          </ac:spMkLst>
        </pc:spChg>
        <pc:spChg chg="add del mod">
          <ac:chgData name="Srivaths Swaminathan" userId="fab820a8-d04c-4fb7-bc62-495e227921e9" providerId="ADAL" clId="{7BA84AA0-DF91-44A9-A18C-3379702B0E32}" dt="2023-08-17T16:01:06.790" v="6897" actId="478"/>
          <ac:spMkLst>
            <pc:docMk/>
            <pc:sldMk cId="82188278" sldId="299"/>
            <ac:spMk id="22" creationId="{01A2B130-65E2-CF72-4C5E-5C0B02BB4C68}"/>
          </ac:spMkLst>
        </pc:spChg>
        <pc:spChg chg="add del mod modVis">
          <ac:chgData name="Srivaths Swaminathan" userId="fab820a8-d04c-4fb7-bc62-495e227921e9" providerId="ADAL" clId="{7BA84AA0-DF91-44A9-A18C-3379702B0E32}" dt="2023-08-17T16:01:20.848" v="6923"/>
          <ac:spMkLst>
            <pc:docMk/>
            <pc:sldMk cId="82188278" sldId="299"/>
            <ac:spMk id="23" creationId="{D50ADBB0-D382-E3D9-2C15-49FD4A5DA6F8}"/>
          </ac:spMkLst>
        </pc:spChg>
        <pc:spChg chg="add del mod modVis">
          <ac:chgData name="Srivaths Swaminathan" userId="fab820a8-d04c-4fb7-bc62-495e227921e9" providerId="ADAL" clId="{7BA84AA0-DF91-44A9-A18C-3379702B0E32}" dt="2023-08-17T16:01:25.618" v="6951"/>
          <ac:spMkLst>
            <pc:docMk/>
            <pc:sldMk cId="82188278" sldId="299"/>
            <ac:spMk id="24" creationId="{DCD9531A-E4E8-54D7-72A7-3354CE1BAE72}"/>
          </ac:spMkLst>
        </pc:spChg>
        <pc:spChg chg="add del mod modVis">
          <ac:chgData name="Srivaths Swaminathan" userId="fab820a8-d04c-4fb7-bc62-495e227921e9" providerId="ADAL" clId="{7BA84AA0-DF91-44A9-A18C-3379702B0E32}" dt="2023-08-17T16:01:29.942" v="6979"/>
          <ac:spMkLst>
            <pc:docMk/>
            <pc:sldMk cId="82188278" sldId="299"/>
            <ac:spMk id="25" creationId="{0A10C5A3-E0CB-70CB-762E-2762AC603C69}"/>
          </ac:spMkLst>
        </pc:spChg>
        <pc:spChg chg="add del mod modVis">
          <ac:chgData name="Srivaths Swaminathan" userId="fab820a8-d04c-4fb7-bc62-495e227921e9" providerId="ADAL" clId="{7BA84AA0-DF91-44A9-A18C-3379702B0E32}" dt="2023-08-17T16:01:32.885" v="7007"/>
          <ac:spMkLst>
            <pc:docMk/>
            <pc:sldMk cId="82188278" sldId="299"/>
            <ac:spMk id="26" creationId="{4AA85186-FA63-C63A-6075-782302561497}"/>
          </ac:spMkLst>
        </pc:spChg>
        <pc:spChg chg="add mod ord">
          <ac:chgData name="Srivaths Swaminathan" userId="fab820a8-d04c-4fb7-bc62-495e227921e9" providerId="ADAL" clId="{7BA84AA0-DF91-44A9-A18C-3379702B0E32}" dt="2023-08-25T15:05:07.946" v="27048"/>
          <ac:spMkLst>
            <pc:docMk/>
            <pc:sldMk cId="82188278" sldId="299"/>
            <ac:spMk id="27" creationId="{97F1B0A7-42CC-7F71-B027-9CE6BCEDF2A9}"/>
          </ac:spMkLst>
        </pc:spChg>
        <pc:spChg chg="add del mod modVis">
          <ac:chgData name="Srivaths Swaminathan" userId="fab820a8-d04c-4fb7-bc62-495e227921e9" providerId="ADAL" clId="{7BA84AA0-DF91-44A9-A18C-3379702B0E32}" dt="2023-08-17T16:03:31.129" v="7042"/>
          <ac:spMkLst>
            <pc:docMk/>
            <pc:sldMk cId="82188278" sldId="299"/>
            <ac:spMk id="28" creationId="{C2966225-1158-F83D-1EC4-C73D249B53C5}"/>
          </ac:spMkLst>
        </pc:spChg>
        <pc:spChg chg="add del mod modVis">
          <ac:chgData name="Srivaths Swaminathan" userId="fab820a8-d04c-4fb7-bc62-495e227921e9" providerId="ADAL" clId="{7BA84AA0-DF91-44A9-A18C-3379702B0E32}" dt="2023-08-17T16:03:36.437" v="7078"/>
          <ac:spMkLst>
            <pc:docMk/>
            <pc:sldMk cId="82188278" sldId="299"/>
            <ac:spMk id="29" creationId="{E8856D9D-BFE6-F552-2D4B-8388A200C76D}"/>
          </ac:spMkLst>
        </pc:spChg>
        <pc:spChg chg="add mod ord">
          <ac:chgData name="Srivaths Swaminathan" userId="fab820a8-d04c-4fb7-bc62-495e227921e9" providerId="ADAL" clId="{7BA84AA0-DF91-44A9-A18C-3379702B0E32}" dt="2023-08-25T15:05:07.947" v="27050"/>
          <ac:spMkLst>
            <pc:docMk/>
            <pc:sldMk cId="82188278" sldId="299"/>
            <ac:spMk id="30" creationId="{8EA31682-9CE5-163A-1DBF-BBD8F5DC213A}"/>
          </ac:spMkLst>
        </pc:spChg>
        <pc:spChg chg="add mod ord">
          <ac:chgData name="Srivaths Swaminathan" userId="fab820a8-d04c-4fb7-bc62-495e227921e9" providerId="ADAL" clId="{7BA84AA0-DF91-44A9-A18C-3379702B0E32}" dt="2023-08-25T15:05:07.949" v="27052"/>
          <ac:spMkLst>
            <pc:docMk/>
            <pc:sldMk cId="82188278" sldId="299"/>
            <ac:spMk id="31" creationId="{7E6F1828-6D35-BA97-5D55-7FD99825ABEF}"/>
          </ac:spMkLst>
        </pc:spChg>
        <pc:spChg chg="add mod ord">
          <ac:chgData name="Srivaths Swaminathan" userId="fab820a8-d04c-4fb7-bc62-495e227921e9" providerId="ADAL" clId="{7BA84AA0-DF91-44A9-A18C-3379702B0E32}" dt="2023-08-25T15:05:07.950" v="27054"/>
          <ac:spMkLst>
            <pc:docMk/>
            <pc:sldMk cId="82188278" sldId="299"/>
            <ac:spMk id="32" creationId="{7DD597E7-4563-A021-11FA-104EE163FC20}"/>
          </ac:spMkLst>
        </pc:spChg>
        <pc:spChg chg="add mod ord">
          <ac:chgData name="Srivaths Swaminathan" userId="fab820a8-d04c-4fb7-bc62-495e227921e9" providerId="ADAL" clId="{7BA84AA0-DF91-44A9-A18C-3379702B0E32}" dt="2023-08-30T17:46:20.225" v="28926" actId="1037"/>
          <ac:spMkLst>
            <pc:docMk/>
            <pc:sldMk cId="82188278" sldId="299"/>
            <ac:spMk id="34" creationId="{37D9C151-18A1-05F1-BFDE-D377B23ACFC6}"/>
          </ac:spMkLst>
        </pc:spChg>
        <pc:spChg chg="add mod ord">
          <ac:chgData name="Srivaths Swaminathan" userId="fab820a8-d04c-4fb7-bc62-495e227921e9" providerId="ADAL" clId="{7BA84AA0-DF91-44A9-A18C-3379702B0E32}" dt="2023-08-30T17:45:46.575" v="28901" actId="1036"/>
          <ac:spMkLst>
            <pc:docMk/>
            <pc:sldMk cId="82188278" sldId="299"/>
            <ac:spMk id="35" creationId="{80E7B519-6C28-5BB9-E7F6-7E898D26193E}"/>
          </ac:spMkLst>
        </pc:spChg>
        <pc:spChg chg="add mod ord">
          <ac:chgData name="Srivaths Swaminathan" userId="fab820a8-d04c-4fb7-bc62-495e227921e9" providerId="ADAL" clId="{7BA84AA0-DF91-44A9-A18C-3379702B0E32}" dt="2023-08-30T17:46:20.225" v="28926" actId="1037"/>
          <ac:spMkLst>
            <pc:docMk/>
            <pc:sldMk cId="82188278" sldId="299"/>
            <ac:spMk id="36" creationId="{98A4B9CE-70D4-0C75-D3D0-CA7425E8249A}"/>
          </ac:spMkLst>
        </pc:spChg>
        <pc:spChg chg="add mod ord">
          <ac:chgData name="Srivaths Swaminathan" userId="fab820a8-d04c-4fb7-bc62-495e227921e9" providerId="ADAL" clId="{7BA84AA0-DF91-44A9-A18C-3379702B0E32}" dt="2023-08-30T17:46:03.080" v="28913" actId="1035"/>
          <ac:spMkLst>
            <pc:docMk/>
            <pc:sldMk cId="82188278" sldId="299"/>
            <ac:spMk id="37" creationId="{49343579-649C-435B-3D47-13C59B4319F0}"/>
          </ac:spMkLst>
        </pc:spChg>
        <pc:spChg chg="add del mod">
          <ac:chgData name="Srivaths Swaminathan" userId="fab820a8-d04c-4fb7-bc62-495e227921e9" providerId="ADAL" clId="{7BA84AA0-DF91-44A9-A18C-3379702B0E32}" dt="2023-08-17T16:19:08.374" v="7389"/>
          <ac:spMkLst>
            <pc:docMk/>
            <pc:sldMk cId="82188278" sldId="299"/>
            <ac:spMk id="38" creationId="{F156214C-8F17-EC71-FD91-9D31689E86D8}"/>
          </ac:spMkLst>
        </pc:spChg>
        <pc:spChg chg="add del mod">
          <ac:chgData name="Srivaths Swaminathan" userId="fab820a8-d04c-4fb7-bc62-495e227921e9" providerId="ADAL" clId="{7BA84AA0-DF91-44A9-A18C-3379702B0E32}" dt="2023-08-17T16:19:08.374" v="7389"/>
          <ac:spMkLst>
            <pc:docMk/>
            <pc:sldMk cId="82188278" sldId="299"/>
            <ac:spMk id="39" creationId="{877F0E7F-045B-7DD3-9ABD-377F824D4F17}"/>
          </ac:spMkLst>
        </pc:spChg>
        <pc:spChg chg="add mod ord">
          <ac:chgData name="Srivaths Swaminathan" userId="fab820a8-d04c-4fb7-bc62-495e227921e9" providerId="ADAL" clId="{7BA84AA0-DF91-44A9-A18C-3379702B0E32}" dt="2023-08-25T15:05:07.959" v="27064"/>
          <ac:spMkLst>
            <pc:docMk/>
            <pc:sldMk cId="82188278" sldId="299"/>
            <ac:spMk id="41" creationId="{1607B1AD-CABE-1E0C-38B6-F29BDF766158}"/>
          </ac:spMkLst>
        </pc:spChg>
        <pc:spChg chg="add mod ord">
          <ac:chgData name="Srivaths Swaminathan" userId="fab820a8-d04c-4fb7-bc62-495e227921e9" providerId="ADAL" clId="{7BA84AA0-DF91-44A9-A18C-3379702B0E32}" dt="2023-08-25T15:30:32.877" v="27222" actId="14100"/>
          <ac:spMkLst>
            <pc:docMk/>
            <pc:sldMk cId="82188278" sldId="299"/>
            <ac:spMk id="42" creationId="{981FEE46-3B48-3BAB-237B-7B8B1BBB83D0}"/>
          </ac:spMkLst>
        </pc:spChg>
        <pc:spChg chg="add mod ord">
          <ac:chgData name="Srivaths Swaminathan" userId="fab820a8-d04c-4fb7-bc62-495e227921e9" providerId="ADAL" clId="{7BA84AA0-DF91-44A9-A18C-3379702B0E32}" dt="2023-08-25T15:08:15.585" v="27186" actId="1035"/>
          <ac:spMkLst>
            <pc:docMk/>
            <pc:sldMk cId="82188278" sldId="299"/>
            <ac:spMk id="43" creationId="{3E1CF622-CB78-A83F-7107-8925B75EC66F}"/>
          </ac:spMkLst>
        </pc:spChg>
        <pc:spChg chg="add mod ord">
          <ac:chgData name="Srivaths Swaminathan" userId="fab820a8-d04c-4fb7-bc62-495e227921e9" providerId="ADAL" clId="{7BA84AA0-DF91-44A9-A18C-3379702B0E32}" dt="2023-08-30T17:09:29.908" v="28714" actId="20577"/>
          <ac:spMkLst>
            <pc:docMk/>
            <pc:sldMk cId="82188278" sldId="299"/>
            <ac:spMk id="44" creationId="{89E9CFD3-8332-5AA0-B01A-B3BCC752ABFE}"/>
          </ac:spMkLst>
        </pc:spChg>
        <pc:spChg chg="del">
          <ac:chgData name="Srivaths Swaminathan" userId="fab820a8-d04c-4fb7-bc62-495e227921e9" providerId="ADAL" clId="{7BA84AA0-DF91-44A9-A18C-3379702B0E32}" dt="2023-08-17T16:22:16.726" v="7474" actId="478"/>
          <ac:spMkLst>
            <pc:docMk/>
            <pc:sldMk cId="82188278" sldId="299"/>
            <ac:spMk id="45" creationId="{BA6A9ED8-4D71-191C-D489-448DE3C2FE55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46" creationId="{AC3F0A0D-5980-4576-D4A2-ABBE31B3B09A}"/>
          </ac:spMkLst>
        </pc:spChg>
        <pc:spChg chg="add del mod">
          <ac:chgData name="Srivaths Swaminathan" userId="fab820a8-d04c-4fb7-bc62-495e227921e9" providerId="ADAL" clId="{7BA84AA0-DF91-44A9-A18C-3379702B0E32}" dt="2023-08-23T09:44:11.318" v="20002" actId="478"/>
          <ac:spMkLst>
            <pc:docMk/>
            <pc:sldMk cId="82188278" sldId="299"/>
            <ac:spMk id="47" creationId="{49F039E0-D200-6969-830A-AA3FC0F35688}"/>
          </ac:spMkLst>
        </pc:spChg>
        <pc:spChg chg="add del mod modVis">
          <ac:chgData name="Srivaths Swaminathan" userId="fab820a8-d04c-4fb7-bc62-495e227921e9" providerId="ADAL" clId="{7BA84AA0-DF91-44A9-A18C-3379702B0E32}" dt="2023-08-17T16:33:04.965" v="7907"/>
          <ac:spMkLst>
            <pc:docMk/>
            <pc:sldMk cId="82188278" sldId="299"/>
            <ac:spMk id="48" creationId="{0015445C-01E3-657D-BCAD-087554ACE86A}"/>
          </ac:spMkLst>
        </pc:spChg>
        <pc:spChg chg="add del mod modVis">
          <ac:chgData name="Srivaths Swaminathan" userId="fab820a8-d04c-4fb7-bc62-495e227921e9" providerId="ADAL" clId="{7BA84AA0-DF91-44A9-A18C-3379702B0E32}" dt="2023-08-17T16:38:43.691" v="8239"/>
          <ac:spMkLst>
            <pc:docMk/>
            <pc:sldMk cId="82188278" sldId="299"/>
            <ac:spMk id="49" creationId="{F09EA6AF-C2E9-2C50-8182-7B2B7BD1580A}"/>
          </ac:spMkLst>
        </pc:spChg>
        <pc:spChg chg="add del mod modVis">
          <ac:chgData name="Srivaths Swaminathan" userId="fab820a8-d04c-4fb7-bc62-495e227921e9" providerId="ADAL" clId="{7BA84AA0-DF91-44A9-A18C-3379702B0E32}" dt="2023-08-17T16:38:44.633" v="8267"/>
          <ac:spMkLst>
            <pc:docMk/>
            <pc:sldMk cId="82188278" sldId="299"/>
            <ac:spMk id="50" creationId="{C3B3F4F7-F4FC-3479-6057-6E2408F637E1}"/>
          </ac:spMkLst>
        </pc:spChg>
        <pc:spChg chg="add del mod modVis">
          <ac:chgData name="Srivaths Swaminathan" userId="fab820a8-d04c-4fb7-bc62-495e227921e9" providerId="ADAL" clId="{7BA84AA0-DF91-44A9-A18C-3379702B0E32}" dt="2023-08-17T16:38:45.930" v="8296"/>
          <ac:spMkLst>
            <pc:docMk/>
            <pc:sldMk cId="82188278" sldId="299"/>
            <ac:spMk id="51" creationId="{03850B5C-8452-4095-226A-CA60CCB91FAE}"/>
          </ac:spMkLst>
        </pc:spChg>
        <pc:spChg chg="add del mod modVis">
          <ac:chgData name="Srivaths Swaminathan" userId="fab820a8-d04c-4fb7-bc62-495e227921e9" providerId="ADAL" clId="{7BA84AA0-DF91-44A9-A18C-3379702B0E32}" dt="2023-08-17T16:38:54.768" v="8324"/>
          <ac:spMkLst>
            <pc:docMk/>
            <pc:sldMk cId="82188278" sldId="299"/>
            <ac:spMk id="52" creationId="{46A958C2-A658-25F7-5E03-10D9F4A418EF}"/>
          </ac:spMkLst>
        </pc:spChg>
        <pc:spChg chg="add del mod modVis">
          <ac:chgData name="Srivaths Swaminathan" userId="fab820a8-d04c-4fb7-bc62-495e227921e9" providerId="ADAL" clId="{7BA84AA0-DF91-44A9-A18C-3379702B0E32}" dt="2023-08-17T16:38:56.334" v="8352"/>
          <ac:spMkLst>
            <pc:docMk/>
            <pc:sldMk cId="82188278" sldId="299"/>
            <ac:spMk id="54" creationId="{B24864FF-B884-CC39-DD81-0D5CDF2700DC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56" creationId="{A6C98AD9-45B9-B070-F6AD-50B151741A3B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57" creationId="{AD79849B-A235-541C-8AA8-C4B59F14442C}"/>
          </ac:spMkLst>
        </pc:spChg>
        <pc:spChg chg="add del mod modVis">
          <ac:chgData name="Srivaths Swaminathan" userId="fab820a8-d04c-4fb7-bc62-495e227921e9" providerId="ADAL" clId="{7BA84AA0-DF91-44A9-A18C-3379702B0E32}" dt="2023-08-17T16:38:57.514" v="8380"/>
          <ac:spMkLst>
            <pc:docMk/>
            <pc:sldMk cId="82188278" sldId="299"/>
            <ac:spMk id="58" creationId="{8B395FD2-137F-511C-BFA2-548827870684}"/>
          </ac:spMkLst>
        </pc:spChg>
        <pc:spChg chg="add del mod modVis">
          <ac:chgData name="Srivaths Swaminathan" userId="fab820a8-d04c-4fb7-bc62-495e227921e9" providerId="ADAL" clId="{7BA84AA0-DF91-44A9-A18C-3379702B0E32}" dt="2023-08-17T16:39:01.063" v="8408"/>
          <ac:spMkLst>
            <pc:docMk/>
            <pc:sldMk cId="82188278" sldId="299"/>
            <ac:spMk id="59" creationId="{39CC5E57-5381-5D34-B7D9-DA2641194083}"/>
          </ac:spMkLst>
        </pc:spChg>
        <pc:spChg chg="del">
          <ac:chgData name="Srivaths Swaminathan" userId="fab820a8-d04c-4fb7-bc62-495e227921e9" providerId="ADAL" clId="{7BA84AA0-DF91-44A9-A18C-3379702B0E32}" dt="2023-08-17T16:22:16.726" v="7474" actId="478"/>
          <ac:spMkLst>
            <pc:docMk/>
            <pc:sldMk cId="82188278" sldId="299"/>
            <ac:spMk id="60" creationId="{1293BA16-6E8C-3673-8A24-282E0245C739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61" creationId="{4F029CB7-0455-4AB9-00C2-72E575922CA0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63" creationId="{BF626DD8-1E79-13AE-4E23-689C46990EBC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64" creationId="{3F0E5BBA-812E-AD65-D776-60048FB6741F}"/>
          </ac:spMkLst>
        </pc:spChg>
        <pc:spChg chg="del">
          <ac:chgData name="Srivaths Swaminathan" userId="fab820a8-d04c-4fb7-bc62-495e227921e9" providerId="ADAL" clId="{7BA84AA0-DF91-44A9-A18C-3379702B0E32}" dt="2023-08-17T16:22:16.726" v="7474" actId="478"/>
          <ac:spMkLst>
            <pc:docMk/>
            <pc:sldMk cId="82188278" sldId="299"/>
            <ac:spMk id="65" creationId="{219C6F70-4BBA-2953-6623-56C910A367AF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66" creationId="{60E03DAB-CFD7-BAE2-7796-6552C179A60F}"/>
          </ac:spMkLst>
        </pc:spChg>
        <pc:spChg chg="add del mod modVis">
          <ac:chgData name="Srivaths Swaminathan" userId="fab820a8-d04c-4fb7-bc62-495e227921e9" providerId="ADAL" clId="{7BA84AA0-DF91-44A9-A18C-3379702B0E32}" dt="2023-08-17T16:39:06.276" v="8436"/>
          <ac:spMkLst>
            <pc:docMk/>
            <pc:sldMk cId="82188278" sldId="299"/>
            <ac:spMk id="67" creationId="{39555BEB-8B44-3677-A827-AB89D58AF44A}"/>
          </ac:spMkLst>
        </pc:spChg>
        <pc:spChg chg="add del mod modVis">
          <ac:chgData name="Srivaths Swaminathan" userId="fab820a8-d04c-4fb7-bc62-495e227921e9" providerId="ADAL" clId="{7BA84AA0-DF91-44A9-A18C-3379702B0E32}" dt="2023-08-17T16:39:08.828" v="8465"/>
          <ac:spMkLst>
            <pc:docMk/>
            <pc:sldMk cId="82188278" sldId="299"/>
            <ac:spMk id="68" creationId="{77E24D88-AD93-395E-A7D5-6280CEFEE83F}"/>
          </ac:spMkLst>
        </pc:spChg>
        <pc:spChg chg="add del mod modVis">
          <ac:chgData name="Srivaths Swaminathan" userId="fab820a8-d04c-4fb7-bc62-495e227921e9" providerId="ADAL" clId="{7BA84AA0-DF91-44A9-A18C-3379702B0E32}" dt="2023-08-17T16:39:12.014" v="8493"/>
          <ac:spMkLst>
            <pc:docMk/>
            <pc:sldMk cId="82188278" sldId="299"/>
            <ac:spMk id="69" creationId="{C7706093-5FF7-C01C-DBA3-658C4C5FA650}"/>
          </ac:spMkLst>
        </pc:spChg>
        <pc:spChg chg="add del mod modVis">
          <ac:chgData name="Srivaths Swaminathan" userId="fab820a8-d04c-4fb7-bc62-495e227921e9" providerId="ADAL" clId="{7BA84AA0-DF91-44A9-A18C-3379702B0E32}" dt="2023-08-17T19:01:39.964" v="13139"/>
          <ac:spMkLst>
            <pc:docMk/>
            <pc:sldMk cId="82188278" sldId="299"/>
            <ac:spMk id="70" creationId="{A342818D-98FB-ECAA-B3EB-6BC4056D38C8}"/>
          </ac:spMkLst>
        </pc:spChg>
        <pc:spChg chg="del">
          <ac:chgData name="Srivaths Swaminathan" userId="fab820a8-d04c-4fb7-bc62-495e227921e9" providerId="ADAL" clId="{7BA84AA0-DF91-44A9-A18C-3379702B0E32}" dt="2023-08-17T16:22:09.735" v="7473" actId="478"/>
          <ac:spMkLst>
            <pc:docMk/>
            <pc:sldMk cId="82188278" sldId="299"/>
            <ac:spMk id="71" creationId="{65B7994B-D4C5-0A94-500B-7D00825869F1}"/>
          </ac:spMkLst>
        </pc:spChg>
        <pc:spChg chg="add del mod modVis">
          <ac:chgData name="Srivaths Swaminathan" userId="fab820a8-d04c-4fb7-bc62-495e227921e9" providerId="ADAL" clId="{7BA84AA0-DF91-44A9-A18C-3379702B0E32}" dt="2023-08-17T19:01:41.218" v="13169"/>
          <ac:spMkLst>
            <pc:docMk/>
            <pc:sldMk cId="82188278" sldId="299"/>
            <ac:spMk id="72" creationId="{CC555252-D363-F78B-C00F-6BB156677196}"/>
          </ac:spMkLst>
        </pc:spChg>
        <pc:spChg chg="del">
          <ac:chgData name="Srivaths Swaminathan" userId="fab820a8-d04c-4fb7-bc62-495e227921e9" providerId="ADAL" clId="{7BA84AA0-DF91-44A9-A18C-3379702B0E32}" dt="2023-08-17T16:05:53.363" v="7104" actId="478"/>
          <ac:spMkLst>
            <pc:docMk/>
            <pc:sldMk cId="82188278" sldId="299"/>
            <ac:spMk id="73" creationId="{B6429D63-F2A7-E7E5-7A69-AE5E0338AE4E}"/>
          </ac:spMkLst>
        </pc:spChg>
        <pc:spChg chg="add del mod modVis">
          <ac:chgData name="Srivaths Swaminathan" userId="fab820a8-d04c-4fb7-bc62-495e227921e9" providerId="ADAL" clId="{7BA84AA0-DF91-44A9-A18C-3379702B0E32}" dt="2023-08-17T19:01:54.918" v="13259" actId="478"/>
          <ac:spMkLst>
            <pc:docMk/>
            <pc:sldMk cId="82188278" sldId="299"/>
            <ac:spMk id="74" creationId="{B4F1E2DE-58D4-76DC-5C60-7A7C8A9D1063}"/>
          </ac:spMkLst>
        </pc:spChg>
        <pc:graphicFrameChg chg="mod">
          <ac:chgData name="Srivaths Swaminathan" userId="fab820a8-d04c-4fb7-bc62-495e227921e9" providerId="ADAL" clId="{7BA84AA0-DF91-44A9-A18C-3379702B0E32}" dt="2023-08-25T15:05:07.970" v="27076"/>
          <ac:graphicFrameMkLst>
            <pc:docMk/>
            <pc:sldMk cId="82188278" sldId="299"/>
            <ac:graphicFrameMk id="2" creationId="{72AE7FC4-17E2-8B9A-1879-5F33AF88CF8A}"/>
          </ac:graphicFrameMkLst>
        </pc:graphicFrameChg>
        <pc:picChg chg="del">
          <ac:chgData name="Srivaths Swaminathan" userId="fab820a8-d04c-4fb7-bc62-495e227921e9" providerId="ADAL" clId="{7BA84AA0-DF91-44A9-A18C-3379702B0E32}" dt="2023-08-17T16:05:50.161" v="7103" actId="478"/>
          <ac:picMkLst>
            <pc:docMk/>
            <pc:sldMk cId="82188278" sldId="299"/>
            <ac:picMk id="53" creationId="{65AF7C8F-8EC5-6119-1203-0D175C14CE75}"/>
          </ac:picMkLst>
        </pc:picChg>
        <pc:cxnChg chg="del">
          <ac:chgData name="Srivaths Swaminathan" userId="fab820a8-d04c-4fb7-bc62-495e227921e9" providerId="ADAL" clId="{7BA84AA0-DF91-44A9-A18C-3379702B0E32}" dt="2023-08-17T16:23:35.229" v="7476" actId="478"/>
          <ac:cxnSpMkLst>
            <pc:docMk/>
            <pc:sldMk cId="82188278" sldId="299"/>
            <ac:cxnSpMk id="9" creationId="{55D09E01-6BEF-90B2-3FD4-D41CDD75BDC6}"/>
          </ac:cxnSpMkLst>
        </pc:cxnChg>
        <pc:cxnChg chg="mod ord">
          <ac:chgData name="Srivaths Swaminathan" userId="fab820a8-d04c-4fb7-bc62-495e227921e9" providerId="ADAL" clId="{7BA84AA0-DF91-44A9-A18C-3379702B0E32}" dt="2023-08-25T15:05:07.943" v="27044"/>
          <ac:cxnSpMkLst>
            <pc:docMk/>
            <pc:sldMk cId="82188278" sldId="299"/>
            <ac:cxnSpMk id="33" creationId="{9E4D488C-0581-F677-A754-87E1DFB8931F}"/>
          </ac:cxnSpMkLst>
        </pc:cxnChg>
        <pc:cxnChg chg="mod ord">
          <ac:chgData name="Srivaths Swaminathan" userId="fab820a8-d04c-4fb7-bc62-495e227921e9" providerId="ADAL" clId="{7BA84AA0-DF91-44A9-A18C-3379702B0E32}" dt="2023-08-25T15:05:07.944" v="27046"/>
          <ac:cxnSpMkLst>
            <pc:docMk/>
            <pc:sldMk cId="82188278" sldId="299"/>
            <ac:cxnSpMk id="55" creationId="{CA662EB0-3797-F99A-3996-0BD24C53C1E1}"/>
          </ac:cxnSpMkLst>
        </pc:cxnChg>
        <pc:cxnChg chg="del">
          <ac:chgData name="Srivaths Swaminathan" userId="fab820a8-d04c-4fb7-bc62-495e227921e9" providerId="ADAL" clId="{7BA84AA0-DF91-44A9-A18C-3379702B0E32}" dt="2023-08-17T16:23:31.688" v="7475" actId="478"/>
          <ac:cxnSpMkLst>
            <pc:docMk/>
            <pc:sldMk cId="82188278" sldId="299"/>
            <ac:cxnSpMk id="62" creationId="{F0A83F3D-1AD8-8CE8-7213-2570C5DCB63E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30T17:09:56.197" v="28715"/>
              <pc2:cmMkLst xmlns:pc2="http://schemas.microsoft.com/office/powerpoint/2019/9/main/command">
                <pc:docMk/>
                <pc:sldMk cId="82188278" sldId="299"/>
                <pc2:cmMk id="{B9385B27-DF62-40C7-B3EE-16EDBC8EE1E8}"/>
              </pc2:cmMkLst>
            </pc226:cmChg>
          </p:ext>
        </pc:extLst>
      </pc:sldChg>
      <pc:sldChg chg="del">
        <pc:chgData name="Srivaths Swaminathan" userId="fab820a8-d04c-4fb7-bc62-495e227921e9" providerId="ADAL" clId="{7BA84AA0-DF91-44A9-A18C-3379702B0E32}" dt="2023-08-11T11:20:37.618" v="0" actId="47"/>
        <pc:sldMkLst>
          <pc:docMk/>
          <pc:sldMk cId="4197958231" sldId="331"/>
        </pc:sldMkLst>
      </pc:sldChg>
      <pc:sldChg chg="addSp delSp modSp mod ord addCm delCm modCm">
        <pc:chgData name="Srivaths Swaminathan" userId="fab820a8-d04c-4fb7-bc62-495e227921e9" providerId="ADAL" clId="{7BA84AA0-DF91-44A9-A18C-3379702B0E32}" dt="2023-09-07T09:31:01.527" v="36999"/>
        <pc:sldMkLst>
          <pc:docMk/>
          <pc:sldMk cId="1485362133" sldId="2147479563"/>
        </pc:sldMkLst>
        <pc:spChg chg="add del mod modVis">
          <ac:chgData name="Srivaths Swaminathan" userId="fab820a8-d04c-4fb7-bc62-495e227921e9" providerId="ADAL" clId="{7BA84AA0-DF91-44A9-A18C-3379702B0E32}" dt="2023-08-24T10:25:20.592" v="26117"/>
          <ac:spMkLst>
            <pc:docMk/>
            <pc:sldMk cId="1485362133" sldId="2147479563"/>
            <ac:spMk id="2" creationId="{011EACCC-7D71-EA78-5AC6-1DD2D38A502C}"/>
          </ac:spMkLst>
        </pc:spChg>
        <pc:spChg chg="del mod">
          <ac:chgData name="Srivaths Swaminathan" userId="fab820a8-d04c-4fb7-bc62-495e227921e9" providerId="ADAL" clId="{7BA84AA0-DF91-44A9-A18C-3379702B0E32}" dt="2023-08-23T18:20:55.146" v="25688" actId="478"/>
          <ac:spMkLst>
            <pc:docMk/>
            <pc:sldMk cId="1485362133" sldId="2147479563"/>
            <ac:spMk id="2" creationId="{A0A539C7-696A-7DF3-6837-C3696F000047}"/>
          </ac:spMkLst>
        </pc:spChg>
        <pc:spChg chg="mod">
          <ac:chgData name="Srivaths Swaminathan" userId="fab820a8-d04c-4fb7-bc62-495e227921e9" providerId="ADAL" clId="{7BA84AA0-DF91-44A9-A18C-3379702B0E32}" dt="2023-08-24T10:28:51.588" v="26223" actId="207"/>
          <ac:spMkLst>
            <pc:docMk/>
            <pc:sldMk cId="1485362133" sldId="2147479563"/>
            <ac:spMk id="3" creationId="{5ED6C8A5-FD0C-E265-84A2-47E65A1B8275}"/>
          </ac:spMkLst>
        </pc:spChg>
        <pc:spChg chg="mod">
          <ac:chgData name="Srivaths Swaminathan" userId="fab820a8-d04c-4fb7-bc62-495e227921e9" providerId="ADAL" clId="{7BA84AA0-DF91-44A9-A18C-3379702B0E32}" dt="2023-08-24T10:13:32.345" v="26062" actId="14100"/>
          <ac:spMkLst>
            <pc:docMk/>
            <pc:sldMk cId="1485362133" sldId="2147479563"/>
            <ac:spMk id="4" creationId="{88200F8F-B90B-3AEF-EC9E-717DBEFBACD6}"/>
          </ac:spMkLst>
        </pc:spChg>
        <pc:spChg chg="add del mod modVis">
          <ac:chgData name="Srivaths Swaminathan" userId="fab820a8-d04c-4fb7-bc62-495e227921e9" providerId="ADAL" clId="{7BA84AA0-DF91-44A9-A18C-3379702B0E32}" dt="2023-08-17T16:34:11.187" v="7939"/>
          <ac:spMkLst>
            <pc:docMk/>
            <pc:sldMk cId="1485362133" sldId="2147479563"/>
            <ac:spMk id="5" creationId="{02607323-8CFF-CDD4-D9CB-03F8561E3727}"/>
          </ac:spMkLst>
        </pc:spChg>
        <pc:spChg chg="del">
          <ac:chgData name="Srivaths Swaminathan" userId="fab820a8-d04c-4fb7-bc62-495e227921e9" providerId="ADAL" clId="{7BA84AA0-DF91-44A9-A18C-3379702B0E32}" dt="2023-08-11T13:38:12.808" v="1047" actId="478"/>
          <ac:spMkLst>
            <pc:docMk/>
            <pc:sldMk cId="1485362133" sldId="2147479563"/>
            <ac:spMk id="5" creationId="{38FB4F3F-BAEE-F6AE-2E61-2FC6A42040A2}"/>
          </ac:spMkLst>
        </pc:spChg>
        <pc:spChg chg="add del mod modVis">
          <ac:chgData name="Srivaths Swaminathan" userId="fab820a8-d04c-4fb7-bc62-495e227921e9" providerId="ADAL" clId="{7BA84AA0-DF91-44A9-A18C-3379702B0E32}" dt="2023-08-23T09:48:58.275" v="20431"/>
          <ac:spMkLst>
            <pc:docMk/>
            <pc:sldMk cId="1485362133" sldId="2147479563"/>
            <ac:spMk id="5" creationId="{54CA55A7-9BAC-144A-DFFD-6127E1ACEF04}"/>
          </ac:spMkLst>
        </pc:spChg>
        <pc:spChg chg="mod">
          <ac:chgData name="Srivaths Swaminathan" userId="fab820a8-d04c-4fb7-bc62-495e227921e9" providerId="ADAL" clId="{7BA84AA0-DF91-44A9-A18C-3379702B0E32}" dt="2023-08-24T10:13:32.345" v="26062" actId="14100"/>
          <ac:spMkLst>
            <pc:docMk/>
            <pc:sldMk cId="1485362133" sldId="2147479563"/>
            <ac:spMk id="7" creationId="{485FD7B2-FB92-815C-45F0-FCCA05431D19}"/>
          </ac:spMkLst>
        </pc:spChg>
        <pc:spChg chg="mod">
          <ac:chgData name="Srivaths Swaminathan" userId="fab820a8-d04c-4fb7-bc62-495e227921e9" providerId="ADAL" clId="{7BA84AA0-DF91-44A9-A18C-3379702B0E32}" dt="2023-08-24T10:13:32.345" v="26062" actId="14100"/>
          <ac:spMkLst>
            <pc:docMk/>
            <pc:sldMk cId="1485362133" sldId="2147479563"/>
            <ac:spMk id="8" creationId="{6412EBE6-B8E1-E426-8024-4B16322734CD}"/>
          </ac:spMkLst>
        </pc:spChg>
        <pc:spChg chg="add del mod modVis">
          <ac:chgData name="Srivaths Swaminathan" userId="fab820a8-d04c-4fb7-bc62-495e227921e9" providerId="ADAL" clId="{7BA84AA0-DF91-44A9-A18C-3379702B0E32}" dt="2023-08-23T09:48:59.528" v="20459"/>
          <ac:spMkLst>
            <pc:docMk/>
            <pc:sldMk cId="1485362133" sldId="2147479563"/>
            <ac:spMk id="9" creationId="{0004BF66-52BE-A6D5-04A1-4A59054DC7FF}"/>
          </ac:spMkLst>
        </pc:spChg>
        <pc:spChg chg="add del mod modVis">
          <ac:chgData name="Srivaths Swaminathan" userId="fab820a8-d04c-4fb7-bc62-495e227921e9" providerId="ADAL" clId="{7BA84AA0-DF91-44A9-A18C-3379702B0E32}" dt="2023-08-17T16:34:11.920" v="7970"/>
          <ac:spMkLst>
            <pc:docMk/>
            <pc:sldMk cId="1485362133" sldId="2147479563"/>
            <ac:spMk id="9" creationId="{51F39706-36D0-141D-B5EA-B8CB2332C3BF}"/>
          </ac:spMkLst>
        </pc:spChg>
        <pc:spChg chg="del">
          <ac:chgData name="Srivaths Swaminathan" userId="fab820a8-d04c-4fb7-bc62-495e227921e9" providerId="ADAL" clId="{7BA84AA0-DF91-44A9-A18C-3379702B0E32}" dt="2023-08-11T13:37:30.973" v="989" actId="478"/>
          <ac:spMkLst>
            <pc:docMk/>
            <pc:sldMk cId="1485362133" sldId="2147479563"/>
            <ac:spMk id="9" creationId="{D818213C-9EC7-AF9C-8B64-055206627571}"/>
          </ac:spMkLst>
        </pc:spChg>
        <pc:spChg chg="mod">
          <ac:chgData name="Srivaths Swaminathan" userId="fab820a8-d04c-4fb7-bc62-495e227921e9" providerId="ADAL" clId="{7BA84AA0-DF91-44A9-A18C-3379702B0E32}" dt="2023-08-24T10:23:32.956" v="26085" actId="14100"/>
          <ac:spMkLst>
            <pc:docMk/>
            <pc:sldMk cId="1485362133" sldId="2147479563"/>
            <ac:spMk id="10" creationId="{1B7BBC78-63BD-CFE6-3ABA-CA188488139E}"/>
          </ac:spMkLst>
        </pc:spChg>
        <pc:spChg chg="del">
          <ac:chgData name="Srivaths Swaminathan" userId="fab820a8-d04c-4fb7-bc62-495e227921e9" providerId="ADAL" clId="{7BA84AA0-DF91-44A9-A18C-3379702B0E32}" dt="2023-08-11T13:38:12.808" v="1047" actId="478"/>
          <ac:spMkLst>
            <pc:docMk/>
            <pc:sldMk cId="1485362133" sldId="2147479563"/>
            <ac:spMk id="11" creationId="{2C7488A9-1CDF-E6AE-FBD2-B43A0CDD852A}"/>
          </ac:spMkLst>
        </pc:spChg>
        <pc:spChg chg="add del mod modVis">
          <ac:chgData name="Srivaths Swaminathan" userId="fab820a8-d04c-4fb7-bc62-495e227921e9" providerId="ADAL" clId="{7BA84AA0-DF91-44A9-A18C-3379702B0E32}" dt="2023-08-23T17:00:51.106" v="24072"/>
          <ac:spMkLst>
            <pc:docMk/>
            <pc:sldMk cId="1485362133" sldId="2147479563"/>
            <ac:spMk id="11" creationId="{2E478242-D260-8DE8-B199-1FEC1B401CBF}"/>
          </ac:spMkLst>
        </pc:spChg>
        <pc:spChg chg="add del mod modVis">
          <ac:chgData name="Srivaths Swaminathan" userId="fab820a8-d04c-4fb7-bc62-495e227921e9" providerId="ADAL" clId="{7BA84AA0-DF91-44A9-A18C-3379702B0E32}" dt="2023-08-17T16:34:13.774" v="8001"/>
          <ac:spMkLst>
            <pc:docMk/>
            <pc:sldMk cId="1485362133" sldId="2147479563"/>
            <ac:spMk id="11" creationId="{D9F9C033-C3B9-56A9-C38D-4B037A3E49CD}"/>
          </ac:spMkLst>
        </pc:spChg>
        <pc:spChg chg="add del mod modVis">
          <ac:chgData name="Srivaths Swaminathan" userId="fab820a8-d04c-4fb7-bc62-495e227921e9" providerId="ADAL" clId="{7BA84AA0-DF91-44A9-A18C-3379702B0E32}" dt="2023-08-17T16:34:19.040" v="8059"/>
          <ac:spMkLst>
            <pc:docMk/>
            <pc:sldMk cId="1485362133" sldId="2147479563"/>
            <ac:spMk id="12" creationId="{375F7D4E-4A57-879B-E871-68943EC78A01}"/>
          </ac:spMkLst>
        </pc:spChg>
        <pc:spChg chg="del">
          <ac:chgData name="Srivaths Swaminathan" userId="fab820a8-d04c-4fb7-bc62-495e227921e9" providerId="ADAL" clId="{7BA84AA0-DF91-44A9-A18C-3379702B0E32}" dt="2023-08-11T13:37:30.973" v="989" actId="478"/>
          <ac:spMkLst>
            <pc:docMk/>
            <pc:sldMk cId="1485362133" sldId="2147479563"/>
            <ac:spMk id="12" creationId="{7A3E0677-52BB-3F39-C513-D42AE6BE1AD5}"/>
          </ac:spMkLst>
        </pc:spChg>
        <pc:spChg chg="add del mod modVis">
          <ac:chgData name="Srivaths Swaminathan" userId="fab820a8-d04c-4fb7-bc62-495e227921e9" providerId="ADAL" clId="{7BA84AA0-DF91-44A9-A18C-3379702B0E32}" dt="2023-08-23T18:20:54.998" v="25685"/>
          <ac:spMkLst>
            <pc:docMk/>
            <pc:sldMk cId="1485362133" sldId="2147479563"/>
            <ac:spMk id="12" creationId="{B489DAAA-D0CA-D563-469A-C7911C7E1ED6}"/>
          </ac:spMkLst>
        </pc:spChg>
        <pc:spChg chg="del">
          <ac:chgData name="Srivaths Swaminathan" userId="fab820a8-d04c-4fb7-bc62-495e227921e9" providerId="ADAL" clId="{7BA84AA0-DF91-44A9-A18C-3379702B0E32}" dt="2023-08-11T13:37:30.973" v="989" actId="478"/>
          <ac:spMkLst>
            <pc:docMk/>
            <pc:sldMk cId="1485362133" sldId="2147479563"/>
            <ac:spMk id="13" creationId="{2B11500F-2606-E6AE-D8F2-C9EF2778B02D}"/>
          </ac:spMkLst>
        </pc:spChg>
        <pc:spChg chg="add del mod modVis">
          <ac:chgData name="Srivaths Swaminathan" userId="fab820a8-d04c-4fb7-bc62-495e227921e9" providerId="ADAL" clId="{7BA84AA0-DF91-44A9-A18C-3379702B0E32}" dt="2023-08-17T16:34:21.025" v="8095"/>
          <ac:spMkLst>
            <pc:docMk/>
            <pc:sldMk cId="1485362133" sldId="2147479563"/>
            <ac:spMk id="13" creationId="{8E09AF6C-A27D-20A6-4141-166F5A692A99}"/>
          </ac:spMkLst>
        </pc:spChg>
        <pc:spChg chg="mod">
          <ac:chgData name="Srivaths Swaminathan" userId="fab820a8-d04c-4fb7-bc62-495e227921e9" providerId="ADAL" clId="{7BA84AA0-DF91-44A9-A18C-3379702B0E32}" dt="2023-08-24T10:22:45.266" v="26078" actId="14100"/>
          <ac:spMkLst>
            <pc:docMk/>
            <pc:sldMk cId="1485362133" sldId="2147479563"/>
            <ac:spMk id="14" creationId="{574D6408-7C1E-0CC6-E2A9-97388C2DB56D}"/>
          </ac:spMkLst>
        </pc:spChg>
        <pc:spChg chg="del">
          <ac:chgData name="Srivaths Swaminathan" userId="fab820a8-d04c-4fb7-bc62-495e227921e9" providerId="ADAL" clId="{7BA84AA0-DF91-44A9-A18C-3379702B0E32}" dt="2023-08-17T16:52:02.514" v="8783" actId="478"/>
          <ac:spMkLst>
            <pc:docMk/>
            <pc:sldMk cId="1485362133" sldId="2147479563"/>
            <ac:spMk id="15" creationId="{54865D96-9D9F-06F3-1364-95AA242308CC}"/>
          </ac:spMkLst>
        </pc:spChg>
        <pc:spChg chg="add mod">
          <ac:chgData name="Srivaths Swaminathan" userId="fab820a8-d04c-4fb7-bc62-495e227921e9" providerId="ADAL" clId="{7BA84AA0-DF91-44A9-A18C-3379702B0E32}" dt="2023-08-24T10:25:20.552" v="26093" actId="948"/>
          <ac:spMkLst>
            <pc:docMk/>
            <pc:sldMk cId="1485362133" sldId="2147479563"/>
            <ac:spMk id="15" creationId="{C7CA8496-7428-E4EB-A26F-453ACE00D543}"/>
          </ac:spMkLst>
        </pc:spChg>
        <pc:spChg chg="add del mod modVis">
          <ac:chgData name="Srivaths Swaminathan" userId="fab820a8-d04c-4fb7-bc62-495e227921e9" providerId="ADAL" clId="{7BA84AA0-DF91-44A9-A18C-3379702B0E32}" dt="2023-08-23T18:21:04.124" v="25718"/>
          <ac:spMkLst>
            <pc:docMk/>
            <pc:sldMk cId="1485362133" sldId="2147479563"/>
            <ac:spMk id="16" creationId="{767F90C9-9486-E0DC-AE18-C73748A2D3E0}"/>
          </ac:spMkLst>
        </pc:spChg>
        <pc:spChg chg="add del mod modVis">
          <ac:chgData name="Srivaths Swaminathan" userId="fab820a8-d04c-4fb7-bc62-495e227921e9" providerId="ADAL" clId="{7BA84AA0-DF91-44A9-A18C-3379702B0E32}" dt="2023-08-17T16:34:22.062" v="8128"/>
          <ac:spMkLst>
            <pc:docMk/>
            <pc:sldMk cId="1485362133" sldId="2147479563"/>
            <ac:spMk id="16" creationId="{D3EF60C6-9578-B8F4-FE47-43827ADB87AC}"/>
          </ac:spMkLst>
        </pc:spChg>
        <pc:spChg chg="del">
          <ac:chgData name="Srivaths Swaminathan" userId="fab820a8-d04c-4fb7-bc62-495e227921e9" providerId="ADAL" clId="{7BA84AA0-DF91-44A9-A18C-3379702B0E32}" dt="2023-08-11T13:38:12.808" v="1047" actId="478"/>
          <ac:spMkLst>
            <pc:docMk/>
            <pc:sldMk cId="1485362133" sldId="2147479563"/>
            <ac:spMk id="16" creationId="{E19C4256-33C9-2B1A-15F9-3A318396F750}"/>
          </ac:spMkLst>
        </pc:spChg>
        <pc:spChg chg="del">
          <ac:chgData name="Srivaths Swaminathan" userId="fab820a8-d04c-4fb7-bc62-495e227921e9" providerId="ADAL" clId="{7BA84AA0-DF91-44A9-A18C-3379702B0E32}" dt="2023-08-11T13:37:08.244" v="873" actId="478"/>
          <ac:spMkLst>
            <pc:docMk/>
            <pc:sldMk cId="1485362133" sldId="2147479563"/>
            <ac:spMk id="17" creationId="{0A930763-F1B7-1C29-DC65-917E541310A4}"/>
          </ac:spMkLst>
        </pc:spChg>
        <pc:spChg chg="add del mod modVis">
          <ac:chgData name="Srivaths Swaminathan" userId="fab820a8-d04c-4fb7-bc62-495e227921e9" providerId="ADAL" clId="{7BA84AA0-DF91-44A9-A18C-3379702B0E32}" dt="2023-08-17T16:34:24.512" v="8165"/>
          <ac:spMkLst>
            <pc:docMk/>
            <pc:sldMk cId="1485362133" sldId="2147479563"/>
            <ac:spMk id="17" creationId="{26ECE6B3-CA22-CA5F-66E0-1FFD0CB9A14C}"/>
          </ac:spMkLst>
        </pc:spChg>
        <pc:spChg chg="add del mod modVis">
          <ac:chgData name="Srivaths Swaminathan" userId="fab820a8-d04c-4fb7-bc62-495e227921e9" providerId="ADAL" clId="{7BA84AA0-DF91-44A9-A18C-3379702B0E32}" dt="2023-08-23T18:21:05.102" v="25746"/>
          <ac:spMkLst>
            <pc:docMk/>
            <pc:sldMk cId="1485362133" sldId="2147479563"/>
            <ac:spMk id="17" creationId="{988E6B71-4815-BFF2-6248-03AFE75F9B1F}"/>
          </ac:spMkLst>
        </pc:spChg>
        <pc:spChg chg="add del mod modVis">
          <ac:chgData name="Srivaths Swaminathan" userId="fab820a8-d04c-4fb7-bc62-495e227921e9" providerId="ADAL" clId="{7BA84AA0-DF91-44A9-A18C-3379702B0E32}" dt="2023-08-23T18:21:10.010" v="25774"/>
          <ac:spMkLst>
            <pc:docMk/>
            <pc:sldMk cId="1485362133" sldId="2147479563"/>
            <ac:spMk id="18" creationId="{8F510095-A4FE-1919-3AE3-F397440C423F}"/>
          </ac:spMkLst>
        </pc:spChg>
        <pc:spChg chg="del">
          <ac:chgData name="Srivaths Swaminathan" userId="fab820a8-d04c-4fb7-bc62-495e227921e9" providerId="ADAL" clId="{7BA84AA0-DF91-44A9-A18C-3379702B0E32}" dt="2023-08-11T13:37:30.973" v="989" actId="478"/>
          <ac:spMkLst>
            <pc:docMk/>
            <pc:sldMk cId="1485362133" sldId="2147479563"/>
            <ac:spMk id="18" creationId="{91E978D5-2456-D68B-6074-CEBC619627DA}"/>
          </ac:spMkLst>
        </pc:spChg>
        <pc:spChg chg="add del mod modVis">
          <ac:chgData name="Srivaths Swaminathan" userId="fab820a8-d04c-4fb7-bc62-495e227921e9" providerId="ADAL" clId="{7BA84AA0-DF91-44A9-A18C-3379702B0E32}" dt="2023-08-17T16:34:25.587" v="8198"/>
          <ac:spMkLst>
            <pc:docMk/>
            <pc:sldMk cId="1485362133" sldId="2147479563"/>
            <ac:spMk id="18" creationId="{BBF444F6-D3AB-4B32-C21F-DBE7EF37E875}"/>
          </ac:spMkLst>
        </pc:spChg>
        <pc:spChg chg="add del mod modVis">
          <ac:chgData name="Srivaths Swaminathan" userId="fab820a8-d04c-4fb7-bc62-495e227921e9" providerId="ADAL" clId="{7BA84AA0-DF91-44A9-A18C-3379702B0E32}" dt="2023-08-17T17:23:18.854" v="9235"/>
          <ac:spMkLst>
            <pc:docMk/>
            <pc:sldMk cId="1485362133" sldId="2147479563"/>
            <ac:spMk id="19" creationId="{7337362B-6DAD-C830-B138-6FC3FE7B97E3}"/>
          </ac:spMkLst>
        </pc:spChg>
        <pc:spChg chg="add del mod modVis">
          <ac:chgData name="Srivaths Swaminathan" userId="fab820a8-d04c-4fb7-bc62-495e227921e9" providerId="ADAL" clId="{7BA84AA0-DF91-44A9-A18C-3379702B0E32}" dt="2023-08-11T11:44:45.526" v="714"/>
          <ac:spMkLst>
            <pc:docMk/>
            <pc:sldMk cId="1485362133" sldId="2147479563"/>
            <ac:spMk id="19" creationId="{B102672F-F427-6B45-A391-73DE6AD92A36}"/>
          </ac:spMkLst>
        </pc:spChg>
        <pc:spChg chg="add del mod modVis">
          <ac:chgData name="Srivaths Swaminathan" userId="fab820a8-d04c-4fb7-bc62-495e227921e9" providerId="ADAL" clId="{7BA84AA0-DF91-44A9-A18C-3379702B0E32}" dt="2023-08-11T11:44:47.544" v="754"/>
          <ac:spMkLst>
            <pc:docMk/>
            <pc:sldMk cId="1485362133" sldId="2147479563"/>
            <ac:spMk id="20" creationId="{7B3A6B51-DCA3-70E3-CA97-B9D59A10D4BE}"/>
          </ac:spMkLst>
        </pc:spChg>
        <pc:spChg chg="del">
          <ac:chgData name="Srivaths Swaminathan" userId="fab820a8-d04c-4fb7-bc62-495e227921e9" providerId="ADAL" clId="{7BA84AA0-DF91-44A9-A18C-3379702B0E32}" dt="2023-08-11T13:38:58.519" v="1148" actId="478"/>
          <ac:spMkLst>
            <pc:docMk/>
            <pc:sldMk cId="1485362133" sldId="2147479563"/>
            <ac:spMk id="21" creationId="{3B317E4A-A24A-C1E6-123C-1CE6439FA5AA}"/>
          </ac:spMkLst>
        </pc:spChg>
        <pc:spChg chg="add del mod modVis">
          <ac:chgData name="Srivaths Swaminathan" userId="fab820a8-d04c-4fb7-bc62-495e227921e9" providerId="ADAL" clId="{7BA84AA0-DF91-44A9-A18C-3379702B0E32}" dt="2023-08-11T11:44:57.347" v="790"/>
          <ac:spMkLst>
            <pc:docMk/>
            <pc:sldMk cId="1485362133" sldId="2147479563"/>
            <ac:spMk id="22" creationId="{B0279AAC-D62E-5E66-BEF3-E6E66E1581E8}"/>
          </ac:spMkLst>
        </pc:spChg>
        <pc:spChg chg="del mod">
          <ac:chgData name="Srivaths Swaminathan" userId="fab820a8-d04c-4fb7-bc62-495e227921e9" providerId="ADAL" clId="{7BA84AA0-DF91-44A9-A18C-3379702B0E32}" dt="2023-08-17T16:39:55.471" v="8515" actId="478"/>
          <ac:spMkLst>
            <pc:docMk/>
            <pc:sldMk cId="1485362133" sldId="2147479563"/>
            <ac:spMk id="23" creationId="{4BE2803D-A464-E560-D07C-0B278C43A0AF}"/>
          </ac:spMkLst>
        </pc:spChg>
        <pc:spChg chg="del">
          <ac:chgData name="Srivaths Swaminathan" userId="fab820a8-d04c-4fb7-bc62-495e227921e9" providerId="ADAL" clId="{7BA84AA0-DF91-44A9-A18C-3379702B0E32}" dt="2023-08-11T13:38:12.808" v="1047" actId="478"/>
          <ac:spMkLst>
            <pc:docMk/>
            <pc:sldMk cId="1485362133" sldId="2147479563"/>
            <ac:spMk id="24" creationId="{3CE535AB-DF59-A0F8-CAAD-643F29DEB6AA}"/>
          </ac:spMkLst>
        </pc:spChg>
        <pc:spChg chg="add del mod modVis">
          <ac:chgData name="Srivaths Swaminathan" userId="fab820a8-d04c-4fb7-bc62-495e227921e9" providerId="ADAL" clId="{7BA84AA0-DF91-44A9-A18C-3379702B0E32}" dt="2023-08-11T11:45:08.538" v="832"/>
          <ac:spMkLst>
            <pc:docMk/>
            <pc:sldMk cId="1485362133" sldId="2147479563"/>
            <ac:spMk id="25" creationId="{92833091-9522-274B-DC0B-3E81E20DDDA5}"/>
          </ac:spMkLst>
        </pc:spChg>
        <pc:spChg chg="add del mod modVis">
          <ac:chgData name="Srivaths Swaminathan" userId="fab820a8-d04c-4fb7-bc62-495e227921e9" providerId="ADAL" clId="{7BA84AA0-DF91-44A9-A18C-3379702B0E32}" dt="2023-08-11T11:45:09.811" v="866"/>
          <ac:spMkLst>
            <pc:docMk/>
            <pc:sldMk cId="1485362133" sldId="2147479563"/>
            <ac:spMk id="27" creationId="{455E3446-0DE7-F6E2-2463-A7CD27AE5DD9}"/>
          </ac:spMkLst>
        </pc:spChg>
        <pc:spChg chg="add del mod modVis">
          <ac:chgData name="Srivaths Swaminathan" userId="fab820a8-d04c-4fb7-bc62-495e227921e9" providerId="ADAL" clId="{7BA84AA0-DF91-44A9-A18C-3379702B0E32}" dt="2023-08-11T13:37:20.696" v="940"/>
          <ac:spMkLst>
            <pc:docMk/>
            <pc:sldMk cId="1485362133" sldId="2147479563"/>
            <ac:spMk id="28" creationId="{B0B65BAA-65A1-7546-4A14-122458F830EB}"/>
          </ac:spMkLst>
        </pc:spChg>
        <pc:spChg chg="add del mod modVis">
          <ac:chgData name="Srivaths Swaminathan" userId="fab820a8-d04c-4fb7-bc62-495e227921e9" providerId="ADAL" clId="{7BA84AA0-DF91-44A9-A18C-3379702B0E32}" dt="2023-08-11T13:37:24.856" v="986"/>
          <ac:spMkLst>
            <pc:docMk/>
            <pc:sldMk cId="1485362133" sldId="2147479563"/>
            <ac:spMk id="29" creationId="{BE2C2E1C-284D-D9D7-7D62-B7C6FB75FA7D}"/>
          </ac:spMkLst>
        </pc:spChg>
        <pc:spChg chg="add mod">
          <ac:chgData name="Srivaths Swaminathan" userId="fab820a8-d04c-4fb7-bc62-495e227921e9" providerId="ADAL" clId="{7BA84AA0-DF91-44A9-A18C-3379702B0E32}" dt="2023-08-24T10:25:17.823" v="26091" actId="1035"/>
          <ac:spMkLst>
            <pc:docMk/>
            <pc:sldMk cId="1485362133" sldId="2147479563"/>
            <ac:spMk id="30" creationId="{AF13E415-E5DD-55D0-7549-EFDA1DC5C989}"/>
          </ac:spMkLst>
        </pc:spChg>
        <pc:spChg chg="add mod">
          <ac:chgData name="Srivaths Swaminathan" userId="fab820a8-d04c-4fb7-bc62-495e227921e9" providerId="ADAL" clId="{7BA84AA0-DF91-44A9-A18C-3379702B0E32}" dt="2023-08-24T10:25:17.823" v="26091" actId="1035"/>
          <ac:spMkLst>
            <pc:docMk/>
            <pc:sldMk cId="1485362133" sldId="2147479563"/>
            <ac:spMk id="31" creationId="{EC77D846-A4CD-FA54-68F1-DA4717816C5F}"/>
          </ac:spMkLst>
        </pc:spChg>
        <pc:spChg chg="add mod">
          <ac:chgData name="Srivaths Swaminathan" userId="fab820a8-d04c-4fb7-bc62-495e227921e9" providerId="ADAL" clId="{7BA84AA0-DF91-44A9-A18C-3379702B0E32}" dt="2023-08-24T10:25:17.823" v="26091" actId="1035"/>
          <ac:spMkLst>
            <pc:docMk/>
            <pc:sldMk cId="1485362133" sldId="2147479563"/>
            <ac:spMk id="32" creationId="{9FF5CDFA-1489-0B41-139F-A4D645850C9A}"/>
          </ac:spMkLst>
        </pc:spChg>
        <pc:graphicFrameChg chg="mod">
          <ac:chgData name="Srivaths Swaminathan" userId="fab820a8-d04c-4fb7-bc62-495e227921e9" providerId="ADAL" clId="{7BA84AA0-DF91-44A9-A18C-3379702B0E32}" dt="2023-08-24T10:25:20.598" v="26119"/>
          <ac:graphicFrameMkLst>
            <pc:docMk/>
            <pc:sldMk cId="1485362133" sldId="2147479563"/>
            <ac:graphicFrameMk id="6" creationId="{EDFA9C19-2135-724C-1613-9349AE517837}"/>
          </ac:graphicFrameMkLst>
        </pc:graphicFrameChg>
        <pc:picChg chg="del mod">
          <ac:chgData name="Srivaths Swaminathan" userId="fab820a8-d04c-4fb7-bc62-495e227921e9" providerId="ADAL" clId="{7BA84AA0-DF91-44A9-A18C-3379702B0E32}" dt="2023-08-17T16:39:55.471" v="8515" actId="478"/>
          <ac:picMkLst>
            <pc:docMk/>
            <pc:sldMk cId="1485362133" sldId="2147479563"/>
            <ac:picMk id="26" creationId="{71FDA6AC-6776-5C5E-A5EC-C9D6F821F47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8:25:55.098" v="25792"/>
              <pc2:cmMkLst xmlns:pc2="http://schemas.microsoft.com/office/powerpoint/2019/9/main/command">
                <pc:docMk/>
                <pc:sldMk cId="1485362133" sldId="2147479563"/>
                <pc2:cmMk id="{9B20414E-35FD-432A-897B-4268C0433655}"/>
              </pc2:cmMkLst>
            </pc226:cmChg>
            <pc226:cmChg xmlns:pc226="http://schemas.microsoft.com/office/powerpoint/2022/06/main/command" chg="add del">
              <pc226:chgData name="Srivaths Swaminathan" userId="fab820a8-d04c-4fb7-bc62-495e227921e9" providerId="ADAL" clId="{7BA84AA0-DF91-44A9-A18C-3379702B0E32}" dt="2023-09-07T09:31:01.527" v="36999"/>
              <pc2:cmMkLst xmlns:pc2="http://schemas.microsoft.com/office/powerpoint/2019/9/main/command">
                <pc:docMk/>
                <pc:sldMk cId="1485362133" sldId="2147479563"/>
                <pc2:cmMk id="{78A65759-30DE-492E-A538-B03C0BDBBFFC}"/>
              </pc2:cmMkLst>
            </pc226:cmChg>
          </p:ext>
        </pc:extLst>
      </pc:sldChg>
      <pc:sldChg chg="del">
        <pc:chgData name="Srivaths Swaminathan" userId="fab820a8-d04c-4fb7-bc62-495e227921e9" providerId="ADAL" clId="{7BA84AA0-DF91-44A9-A18C-3379702B0E32}" dt="2023-08-11T11:20:37.618" v="0" actId="47"/>
        <pc:sldMkLst>
          <pc:docMk/>
          <pc:sldMk cId="2584046304" sldId="2147479567"/>
        </pc:sldMkLst>
      </pc:sldChg>
      <pc:sldChg chg="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98343661" sldId="2147479573"/>
        </pc:sldMkLst>
        <pc:graphicFrameChg chg="mod">
          <ac:chgData name="Srivaths Swaminathan" userId="fab820a8-d04c-4fb7-bc62-495e227921e9" providerId="ADAL" clId="{7BA84AA0-DF91-44A9-A18C-3379702B0E32}" dt="2023-08-17T19:00:17.491" v="13024" actId="1076"/>
          <ac:graphicFrameMkLst>
            <pc:docMk/>
            <pc:sldMk cId="198343661" sldId="2147479573"/>
            <ac:graphicFrameMk id="10" creationId="{095B3B92-F690-216C-A684-1F654C401B2D}"/>
          </ac:graphicFrameMkLst>
        </pc:graphicFrameChg>
      </pc:sldChg>
      <pc:sldChg chg="addSp delSp modSp del mod">
        <pc:chgData name="Srivaths Swaminathan" userId="fab820a8-d04c-4fb7-bc62-495e227921e9" providerId="ADAL" clId="{7BA84AA0-DF91-44A9-A18C-3379702B0E32}" dt="2023-08-17T18:58:31.291" v="12985" actId="47"/>
        <pc:sldMkLst>
          <pc:docMk/>
          <pc:sldMk cId="2490285491" sldId="2147479576"/>
        </pc:sldMkLst>
        <pc:spChg chg="mod">
          <ac:chgData name="Srivaths Swaminathan" userId="fab820a8-d04c-4fb7-bc62-495e227921e9" providerId="ADAL" clId="{7BA84AA0-DF91-44A9-A18C-3379702B0E32}" dt="2023-08-11T11:43:32.611" v="666" actId="1036"/>
          <ac:spMkLst>
            <pc:docMk/>
            <pc:sldMk cId="2490285491" sldId="2147479576"/>
            <ac:spMk id="3" creationId="{7ACF9B55-B49F-82C0-12B6-88BFF6AC7820}"/>
          </ac:spMkLst>
        </pc:spChg>
        <pc:spChg chg="mod">
          <ac:chgData name="Srivaths Swaminathan" userId="fab820a8-d04c-4fb7-bc62-495e227921e9" providerId="ADAL" clId="{7BA84AA0-DF91-44A9-A18C-3379702B0E32}" dt="2023-08-11T11:43:32.611" v="666" actId="1036"/>
          <ac:spMkLst>
            <pc:docMk/>
            <pc:sldMk cId="2490285491" sldId="2147479576"/>
            <ac:spMk id="5" creationId="{B02E8B76-DC08-0900-A696-392361EACB1B}"/>
          </ac:spMkLst>
        </pc:spChg>
        <pc:spChg chg="mod">
          <ac:chgData name="Srivaths Swaminathan" userId="fab820a8-d04c-4fb7-bc62-495e227921e9" providerId="ADAL" clId="{7BA84AA0-DF91-44A9-A18C-3379702B0E32}" dt="2023-08-11T11:43:12.555" v="644" actId="20577"/>
          <ac:spMkLst>
            <pc:docMk/>
            <pc:sldMk cId="2490285491" sldId="2147479576"/>
            <ac:spMk id="7" creationId="{59AD4632-3848-23AF-9AC4-D2773C2BAC61}"/>
          </ac:spMkLst>
        </pc:spChg>
        <pc:spChg chg="mod">
          <ac:chgData name="Srivaths Swaminathan" userId="fab820a8-d04c-4fb7-bc62-495e227921e9" providerId="ADAL" clId="{7BA84AA0-DF91-44A9-A18C-3379702B0E32}" dt="2023-08-11T11:43:32.611" v="666" actId="1036"/>
          <ac:spMkLst>
            <pc:docMk/>
            <pc:sldMk cId="2490285491" sldId="2147479576"/>
            <ac:spMk id="12" creationId="{B5018846-D656-4EFB-DEB6-509BF7345950}"/>
          </ac:spMkLst>
        </pc:spChg>
        <pc:spChg chg="del mod">
          <ac:chgData name="Srivaths Swaminathan" userId="fab820a8-d04c-4fb7-bc62-495e227921e9" providerId="ADAL" clId="{7BA84AA0-DF91-44A9-A18C-3379702B0E32}" dt="2023-08-11T11:43:19.734" v="645" actId="478"/>
          <ac:spMkLst>
            <pc:docMk/>
            <pc:sldMk cId="2490285491" sldId="2147479576"/>
            <ac:spMk id="13" creationId="{F8773431-59EC-C7F4-691E-A4F52E1BB462}"/>
          </ac:spMkLst>
        </pc:spChg>
        <pc:spChg chg="add del mod">
          <ac:chgData name="Srivaths Swaminathan" userId="fab820a8-d04c-4fb7-bc62-495e227921e9" providerId="ADAL" clId="{7BA84AA0-DF91-44A9-A18C-3379702B0E32}" dt="2023-08-11T11:29:32.443" v="17" actId="478"/>
          <ac:spMkLst>
            <pc:docMk/>
            <pc:sldMk cId="2490285491" sldId="2147479576"/>
            <ac:spMk id="14" creationId="{B92D9D73-CEA1-3A43-3A6D-4F5C55ED593F}"/>
          </ac:spMkLst>
        </pc:spChg>
      </pc:sldChg>
      <pc:sldChg chg="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745341794" sldId="2147479591"/>
        </pc:sldMkLst>
      </pc:sldChg>
      <pc:sldChg chg="addSp modSp del">
        <pc:chgData name="Srivaths Swaminathan" userId="fab820a8-d04c-4fb7-bc62-495e227921e9" providerId="ADAL" clId="{7BA84AA0-DF91-44A9-A18C-3379702B0E32}" dt="2023-08-17T19:01:25.295" v="13098" actId="47"/>
        <pc:sldMkLst>
          <pc:docMk/>
          <pc:sldMk cId="3643749381" sldId="2147479592"/>
        </pc:sldMkLst>
        <pc:spChg chg="add mod">
          <ac:chgData name="Srivaths Swaminathan" userId="fab820a8-d04c-4fb7-bc62-495e227921e9" providerId="ADAL" clId="{7BA84AA0-DF91-44A9-A18C-3379702B0E32}" dt="2023-08-11T11:29:19.806" v="16"/>
          <ac:spMkLst>
            <pc:docMk/>
            <pc:sldMk cId="3643749381" sldId="2147479592"/>
            <ac:spMk id="9" creationId="{15AFB74D-6528-254D-2822-F7A3E272156F}"/>
          </ac:spMkLst>
        </pc:spChg>
      </pc:sldChg>
      <pc:sldChg chg="addSp delSp modSp del mod ord">
        <pc:chgData name="Srivaths Swaminathan" userId="fab820a8-d04c-4fb7-bc62-495e227921e9" providerId="ADAL" clId="{7BA84AA0-DF91-44A9-A18C-3379702B0E32}" dt="2023-08-11T14:30:52.419" v="2322" actId="47"/>
        <pc:sldMkLst>
          <pc:docMk/>
          <pc:sldMk cId="1615406442" sldId="2147479594"/>
        </pc:sldMkLst>
        <pc:spChg chg="mod">
          <ac:chgData name="Srivaths Swaminathan" userId="fab820a8-d04c-4fb7-bc62-495e227921e9" providerId="ADAL" clId="{7BA84AA0-DF91-44A9-A18C-3379702B0E32}" dt="2023-08-11T14:29:46.695" v="2139" actId="948"/>
          <ac:spMkLst>
            <pc:docMk/>
            <pc:sldMk cId="1615406442" sldId="2147479594"/>
            <ac:spMk id="2" creationId="{E095F009-F48C-2687-23C2-E2266D3C074D}"/>
          </ac:spMkLst>
        </pc:spChg>
        <pc:spChg chg="mod">
          <ac:chgData name="Srivaths Swaminathan" userId="fab820a8-d04c-4fb7-bc62-495e227921e9" providerId="ADAL" clId="{7BA84AA0-DF91-44A9-A18C-3379702B0E32}" dt="2023-08-11T14:28:19.039" v="1955" actId="20577"/>
          <ac:spMkLst>
            <pc:docMk/>
            <pc:sldMk cId="1615406442" sldId="2147479594"/>
            <ac:spMk id="3" creationId="{00A76FAE-87B6-41A1-C519-376C3C28B35F}"/>
          </ac:spMkLst>
        </pc:spChg>
        <pc:spChg chg="mod">
          <ac:chgData name="Srivaths Swaminathan" userId="fab820a8-d04c-4fb7-bc62-495e227921e9" providerId="ADAL" clId="{7BA84AA0-DF91-44A9-A18C-3379702B0E32}" dt="2023-08-11T14:25:30.295" v="1911" actId="20577"/>
          <ac:spMkLst>
            <pc:docMk/>
            <pc:sldMk cId="1615406442" sldId="2147479594"/>
            <ac:spMk id="5" creationId="{B01EB8F4-73D1-F46D-7C00-66E622D3F678}"/>
          </ac:spMkLst>
        </pc:spChg>
        <pc:spChg chg="mod">
          <ac:chgData name="Srivaths Swaminathan" userId="fab820a8-d04c-4fb7-bc62-495e227921e9" providerId="ADAL" clId="{7BA84AA0-DF91-44A9-A18C-3379702B0E32}" dt="2023-08-11T14:25:34.441" v="1914" actId="20577"/>
          <ac:spMkLst>
            <pc:docMk/>
            <pc:sldMk cId="1615406442" sldId="2147479594"/>
            <ac:spMk id="6" creationId="{15CCB14B-69EE-8144-2258-B3D0CD291404}"/>
          </ac:spMkLst>
        </pc:spChg>
        <pc:spChg chg="mod">
          <ac:chgData name="Srivaths Swaminathan" userId="fab820a8-d04c-4fb7-bc62-495e227921e9" providerId="ADAL" clId="{7BA84AA0-DF91-44A9-A18C-3379702B0E32}" dt="2023-08-11T14:25:58.336" v="1940" actId="14100"/>
          <ac:spMkLst>
            <pc:docMk/>
            <pc:sldMk cId="1615406442" sldId="2147479594"/>
            <ac:spMk id="7" creationId="{E2149000-AD6C-45C0-0889-873249F0612B}"/>
          </ac:spMkLst>
        </pc:spChg>
        <pc:spChg chg="add del mod modVis">
          <ac:chgData name="Srivaths Swaminathan" userId="fab820a8-d04c-4fb7-bc62-495e227921e9" providerId="ADAL" clId="{7BA84AA0-DF91-44A9-A18C-3379702B0E32}" dt="2023-08-11T14:25:07.613" v="1800"/>
          <ac:spMkLst>
            <pc:docMk/>
            <pc:sldMk cId="1615406442" sldId="2147479594"/>
            <ac:spMk id="10" creationId="{98CBCE1A-3631-4B0D-9B70-800CB01A6673}"/>
          </ac:spMkLst>
        </pc:spChg>
        <pc:spChg chg="mod">
          <ac:chgData name="Srivaths Swaminathan" userId="fab820a8-d04c-4fb7-bc62-495e227921e9" providerId="ADAL" clId="{7BA84AA0-DF91-44A9-A18C-3379702B0E32}" dt="2023-08-11T14:21:22.962" v="1622" actId="20577"/>
          <ac:spMkLst>
            <pc:docMk/>
            <pc:sldMk cId="1615406442" sldId="2147479594"/>
            <ac:spMk id="11" creationId="{41D24EE6-BC76-1A9D-075B-859110CD8C24}"/>
          </ac:spMkLst>
        </pc:spChg>
        <pc:spChg chg="mod">
          <ac:chgData name="Srivaths Swaminathan" userId="fab820a8-d04c-4fb7-bc62-495e227921e9" providerId="ADAL" clId="{7BA84AA0-DF91-44A9-A18C-3379702B0E32}" dt="2023-08-11T14:21:27.968" v="1632" actId="20577"/>
          <ac:spMkLst>
            <pc:docMk/>
            <pc:sldMk cId="1615406442" sldId="2147479594"/>
            <ac:spMk id="13" creationId="{7446E659-F665-CBD9-6796-0A3FD55F4C3A}"/>
          </ac:spMkLst>
        </pc:spChg>
        <pc:spChg chg="mod">
          <ac:chgData name="Srivaths Swaminathan" userId="fab820a8-d04c-4fb7-bc62-495e227921e9" providerId="ADAL" clId="{7BA84AA0-DF91-44A9-A18C-3379702B0E32}" dt="2023-08-11T14:21:32.522" v="1642" actId="20577"/>
          <ac:spMkLst>
            <pc:docMk/>
            <pc:sldMk cId="1615406442" sldId="2147479594"/>
            <ac:spMk id="14" creationId="{11D72856-26EE-20B0-0448-44197C13C391}"/>
          </ac:spMkLst>
        </pc:spChg>
        <pc:spChg chg="mod">
          <ac:chgData name="Srivaths Swaminathan" userId="fab820a8-d04c-4fb7-bc62-495e227921e9" providerId="ADAL" clId="{7BA84AA0-DF91-44A9-A18C-3379702B0E32}" dt="2023-08-11T14:21:37.464" v="1652" actId="20577"/>
          <ac:spMkLst>
            <pc:docMk/>
            <pc:sldMk cId="1615406442" sldId="2147479594"/>
            <ac:spMk id="15" creationId="{951EC86C-7AA9-9BA2-B9B6-01D23C423992}"/>
          </ac:spMkLst>
        </pc:spChg>
        <pc:spChg chg="add del mod modVis">
          <ac:chgData name="Srivaths Swaminathan" userId="fab820a8-d04c-4fb7-bc62-495e227921e9" providerId="ADAL" clId="{7BA84AA0-DF91-44A9-A18C-3379702B0E32}" dt="2023-08-11T14:25:11.833" v="1842"/>
          <ac:spMkLst>
            <pc:docMk/>
            <pc:sldMk cId="1615406442" sldId="2147479594"/>
            <ac:spMk id="16" creationId="{2CE15F1C-3218-8A5F-941B-37D1EEE8371A}"/>
          </ac:spMkLst>
        </pc:spChg>
        <pc:spChg chg="add del mod modVis">
          <ac:chgData name="Srivaths Swaminathan" userId="fab820a8-d04c-4fb7-bc62-495e227921e9" providerId="ADAL" clId="{7BA84AA0-DF91-44A9-A18C-3379702B0E32}" dt="2023-08-11T14:25:13.185" v="1870"/>
          <ac:spMkLst>
            <pc:docMk/>
            <pc:sldMk cId="1615406442" sldId="2147479594"/>
            <ac:spMk id="17" creationId="{4351E820-0C80-E89D-5CC1-B69AA8873E65}"/>
          </ac:spMkLst>
        </pc:spChg>
        <pc:spChg chg="add del mod modVis">
          <ac:chgData name="Srivaths Swaminathan" userId="fab820a8-d04c-4fb7-bc62-495e227921e9" providerId="ADAL" clId="{7BA84AA0-DF91-44A9-A18C-3379702B0E32}" dt="2023-08-11T14:25:14.618" v="1906"/>
          <ac:spMkLst>
            <pc:docMk/>
            <pc:sldMk cId="1615406442" sldId="2147479594"/>
            <ac:spMk id="18" creationId="{23B6731F-72C9-4B60-4139-865F9392DDC9}"/>
          </ac:spMkLst>
        </pc:spChg>
        <pc:spChg chg="add mod">
          <ac:chgData name="Srivaths Swaminathan" userId="fab820a8-d04c-4fb7-bc62-495e227921e9" providerId="ADAL" clId="{7BA84AA0-DF91-44A9-A18C-3379702B0E32}" dt="2023-08-11T14:30:05.707" v="2219" actId="1076"/>
          <ac:spMkLst>
            <pc:docMk/>
            <pc:sldMk cId="1615406442" sldId="2147479594"/>
            <ac:spMk id="19" creationId="{536E15A8-17F3-8F27-99D4-9033EBEB84D7}"/>
          </ac:spMkLst>
        </pc:spChg>
        <pc:spChg chg="add del mod modVis">
          <ac:chgData name="Srivaths Swaminathan" userId="fab820a8-d04c-4fb7-bc62-495e227921e9" providerId="ADAL" clId="{7BA84AA0-DF91-44A9-A18C-3379702B0E32}" dt="2023-08-11T14:29:46.725" v="2163"/>
          <ac:spMkLst>
            <pc:docMk/>
            <pc:sldMk cId="1615406442" sldId="2147479594"/>
            <ac:spMk id="20" creationId="{FC0C444C-BC9A-4FB5-C8D9-A5712AA74C7E}"/>
          </ac:spMkLst>
        </pc:spChg>
        <pc:spChg chg="mod">
          <ac:chgData name="Srivaths Swaminathan" userId="fab820a8-d04c-4fb7-bc62-495e227921e9" providerId="ADAL" clId="{7BA84AA0-DF91-44A9-A18C-3379702B0E32}" dt="2023-08-11T14:22:15.963" v="1690" actId="20577"/>
          <ac:spMkLst>
            <pc:docMk/>
            <pc:sldMk cId="1615406442" sldId="2147479594"/>
            <ac:spMk id="68" creationId="{26D9B159-855D-865C-3F3C-18EFE6650E06}"/>
          </ac:spMkLst>
        </pc:spChg>
        <pc:graphicFrameChg chg="modGraphic">
          <ac:chgData name="Srivaths Swaminathan" userId="fab820a8-d04c-4fb7-bc62-495e227921e9" providerId="ADAL" clId="{7BA84AA0-DF91-44A9-A18C-3379702B0E32}" dt="2023-08-11T14:24:40.586" v="1746" actId="20577"/>
          <ac:graphicFrameMkLst>
            <pc:docMk/>
            <pc:sldMk cId="1615406442" sldId="2147479594"/>
            <ac:graphicFrameMk id="9" creationId="{769C34BA-58EC-14C3-88E8-2829942397C3}"/>
          </ac:graphicFrameMkLst>
        </pc:graphicFrameChg>
        <pc:graphicFrameChg chg="mod">
          <ac:chgData name="Srivaths Swaminathan" userId="fab820a8-d04c-4fb7-bc62-495e227921e9" providerId="ADAL" clId="{7BA84AA0-DF91-44A9-A18C-3379702B0E32}" dt="2023-08-11T14:29:46.728" v="2165"/>
          <ac:graphicFrameMkLst>
            <pc:docMk/>
            <pc:sldMk cId="1615406442" sldId="2147479594"/>
            <ac:graphicFrameMk id="12" creationId="{C917E2E4-D409-09B9-38CF-D16CF35887F5}"/>
          </ac:graphicFrameMkLst>
        </pc:graphicFrameChg>
      </pc:sldChg>
      <pc:sldChg chg="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3666502735" sldId="2147479595"/>
        </pc:sldMkLst>
        <pc:spChg chg="mod">
          <ac:chgData name="Srivaths Swaminathan" userId="fab820a8-d04c-4fb7-bc62-495e227921e9" providerId="ADAL" clId="{7BA84AA0-DF91-44A9-A18C-3379702B0E32}" dt="2023-08-16T09:14:19.695" v="2673" actId="14100"/>
          <ac:spMkLst>
            <pc:docMk/>
            <pc:sldMk cId="3666502735" sldId="2147479595"/>
            <ac:spMk id="5" creationId="{B01EB8F4-73D1-F46D-7C00-66E622D3F678}"/>
          </ac:spMkLst>
        </pc:spChg>
        <pc:spChg chg="mod">
          <ac:chgData name="Srivaths Swaminathan" userId="fab820a8-d04c-4fb7-bc62-495e227921e9" providerId="ADAL" clId="{7BA84AA0-DF91-44A9-A18C-3379702B0E32}" dt="2023-08-11T14:30:43.751" v="2321" actId="20577"/>
          <ac:spMkLst>
            <pc:docMk/>
            <pc:sldMk cId="3666502735" sldId="2147479595"/>
            <ac:spMk id="19" creationId="{536E15A8-17F3-8F27-99D4-9033EBEB84D7}"/>
          </ac:spMkLst>
        </pc:spChg>
        <pc:graphicFrameChg chg="mod">
          <ac:chgData name="Srivaths Swaminathan" userId="fab820a8-d04c-4fb7-bc62-495e227921e9" providerId="ADAL" clId="{7BA84AA0-DF91-44A9-A18C-3379702B0E32}" dt="2023-08-17T19:00:23.103" v="13040" actId="1076"/>
          <ac:graphicFrameMkLst>
            <pc:docMk/>
            <pc:sldMk cId="3666502735" sldId="2147479595"/>
            <ac:graphicFrameMk id="12" creationId="{C917E2E4-D409-09B9-38CF-D16CF35887F5}"/>
          </ac:graphicFrameMkLst>
        </pc:graphicFrameChg>
      </pc:sldChg>
      <pc:sldChg chg="addSp delSp 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891120514" sldId="2147479596"/>
        </pc:sldMkLst>
        <pc:spChg chg="mod">
          <ac:chgData name="Srivaths Swaminathan" userId="fab820a8-d04c-4fb7-bc62-495e227921e9" providerId="ADAL" clId="{7BA84AA0-DF91-44A9-A18C-3379702B0E32}" dt="2023-08-11T14:33:54.358" v="2376" actId="403"/>
          <ac:spMkLst>
            <pc:docMk/>
            <pc:sldMk cId="891120514" sldId="2147479596"/>
            <ac:spMk id="2" creationId="{E095F009-F48C-2687-23C2-E2266D3C074D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5" creationId="{B01EB8F4-73D1-F46D-7C00-66E622D3F678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6" creationId="{15CCB14B-69EE-8144-2258-B3D0CD291404}"/>
          </ac:spMkLst>
        </pc:spChg>
        <pc:spChg chg="del">
          <ac:chgData name="Srivaths Swaminathan" userId="fab820a8-d04c-4fb7-bc62-495e227921e9" providerId="ADAL" clId="{7BA84AA0-DF91-44A9-A18C-3379702B0E32}" dt="2023-08-11T14:51:23.577" v="2392" actId="478"/>
          <ac:spMkLst>
            <pc:docMk/>
            <pc:sldMk cId="891120514" sldId="2147479596"/>
            <ac:spMk id="7" creationId="{E2149000-AD6C-45C0-0889-873249F0612B}"/>
          </ac:spMkLst>
        </pc:spChg>
        <pc:spChg chg="add del mod modVis">
          <ac:chgData name="Srivaths Swaminathan" userId="fab820a8-d04c-4fb7-bc62-495e227921e9" providerId="ADAL" clId="{7BA84AA0-DF91-44A9-A18C-3379702B0E32}" dt="2023-08-11T14:33:54.357" v="2374" actId="962"/>
          <ac:spMkLst>
            <pc:docMk/>
            <pc:sldMk cId="891120514" sldId="2147479596"/>
            <ac:spMk id="10" creationId="{35BBAAEC-36EA-2E01-7923-FAFB56AFB9FD}"/>
          </ac:spMkLst>
        </pc:spChg>
        <pc:spChg chg="del">
          <ac:chgData name="Srivaths Swaminathan" userId="fab820a8-d04c-4fb7-bc62-495e227921e9" providerId="ADAL" clId="{7BA84AA0-DF91-44A9-A18C-3379702B0E32}" dt="2023-08-11T14:50:03.603" v="2379" actId="478"/>
          <ac:spMkLst>
            <pc:docMk/>
            <pc:sldMk cId="891120514" sldId="2147479596"/>
            <ac:spMk id="11" creationId="{41D24EE6-BC76-1A9D-075B-859110CD8C24}"/>
          </ac:spMkLst>
        </pc:spChg>
        <pc:spChg chg="del">
          <ac:chgData name="Srivaths Swaminathan" userId="fab820a8-d04c-4fb7-bc62-495e227921e9" providerId="ADAL" clId="{7BA84AA0-DF91-44A9-A18C-3379702B0E32}" dt="2023-08-11T14:50:03.603" v="2379" actId="478"/>
          <ac:spMkLst>
            <pc:docMk/>
            <pc:sldMk cId="891120514" sldId="2147479596"/>
            <ac:spMk id="13" creationId="{7446E659-F665-CBD9-6796-0A3FD55F4C3A}"/>
          </ac:spMkLst>
        </pc:spChg>
        <pc:spChg chg="del">
          <ac:chgData name="Srivaths Swaminathan" userId="fab820a8-d04c-4fb7-bc62-495e227921e9" providerId="ADAL" clId="{7BA84AA0-DF91-44A9-A18C-3379702B0E32}" dt="2023-08-11T14:50:03.603" v="2379" actId="478"/>
          <ac:spMkLst>
            <pc:docMk/>
            <pc:sldMk cId="891120514" sldId="2147479596"/>
            <ac:spMk id="14" creationId="{11D72856-26EE-20B0-0448-44197C13C391}"/>
          </ac:spMkLst>
        </pc:spChg>
        <pc:spChg chg="del">
          <ac:chgData name="Srivaths Swaminathan" userId="fab820a8-d04c-4fb7-bc62-495e227921e9" providerId="ADAL" clId="{7BA84AA0-DF91-44A9-A18C-3379702B0E32}" dt="2023-08-11T14:50:03.603" v="2379" actId="478"/>
          <ac:spMkLst>
            <pc:docMk/>
            <pc:sldMk cId="891120514" sldId="2147479596"/>
            <ac:spMk id="15" creationId="{951EC86C-7AA9-9BA2-B9B6-01D23C423992}"/>
          </ac:spMkLst>
        </pc:spChg>
        <pc:spChg chg="add mod">
          <ac:chgData name="Srivaths Swaminathan" userId="fab820a8-d04c-4fb7-bc62-495e227921e9" providerId="ADAL" clId="{7BA84AA0-DF91-44A9-A18C-3379702B0E32}" dt="2023-08-11T14:50:41.009" v="2382" actId="2085"/>
          <ac:spMkLst>
            <pc:docMk/>
            <pc:sldMk cId="891120514" sldId="2147479596"/>
            <ac:spMk id="16" creationId="{7A9FEC2B-5C9A-F7D9-3823-B819EAAD9613}"/>
          </ac:spMkLst>
        </pc:spChg>
        <pc:spChg chg="add mod">
          <ac:chgData name="Srivaths Swaminathan" userId="fab820a8-d04c-4fb7-bc62-495e227921e9" providerId="ADAL" clId="{7BA84AA0-DF91-44A9-A18C-3379702B0E32}" dt="2023-08-11T14:51:59.740" v="2393" actId="207"/>
          <ac:spMkLst>
            <pc:docMk/>
            <pc:sldMk cId="891120514" sldId="2147479596"/>
            <ac:spMk id="17" creationId="{C64B59D4-30AD-DB48-3B2B-2A6A93568C88}"/>
          </ac:spMkLst>
        </pc:spChg>
        <pc:spChg chg="add mod">
          <ac:chgData name="Srivaths Swaminathan" userId="fab820a8-d04c-4fb7-bc62-495e227921e9" providerId="ADAL" clId="{7BA84AA0-DF91-44A9-A18C-3379702B0E32}" dt="2023-08-11T14:52:05.816" v="2394" actId="207"/>
          <ac:spMkLst>
            <pc:docMk/>
            <pc:sldMk cId="891120514" sldId="2147479596"/>
            <ac:spMk id="18" creationId="{A63440F7-CFD3-F746-9936-AC80927C5A56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19" creationId="{536E15A8-17F3-8F27-99D4-9033EBEB84D7}"/>
          </ac:spMkLst>
        </pc:spChg>
        <pc:spChg chg="add mod">
          <ac:chgData name="Srivaths Swaminathan" userId="fab820a8-d04c-4fb7-bc62-495e227921e9" providerId="ADAL" clId="{7BA84AA0-DF91-44A9-A18C-3379702B0E32}" dt="2023-08-11T14:52:10.910" v="2395" actId="207"/>
          <ac:spMkLst>
            <pc:docMk/>
            <pc:sldMk cId="891120514" sldId="2147479596"/>
            <ac:spMk id="20" creationId="{4D3B136D-6C77-A612-4DE9-5BA65BB6DA35}"/>
          </ac:spMkLst>
        </pc:spChg>
        <pc:spChg chg="add mod">
          <ac:chgData name="Srivaths Swaminathan" userId="fab820a8-d04c-4fb7-bc62-495e227921e9" providerId="ADAL" clId="{7BA84AA0-DF91-44A9-A18C-3379702B0E32}" dt="2023-08-11T14:52:56.641" v="2421" actId="122"/>
          <ac:spMkLst>
            <pc:docMk/>
            <pc:sldMk cId="891120514" sldId="2147479596"/>
            <ac:spMk id="21" creationId="{989C9177-7E83-F584-0CC7-575FF7B8CAB8}"/>
          </ac:spMkLst>
        </pc:spChg>
        <pc:spChg chg="add mod">
          <ac:chgData name="Srivaths Swaminathan" userId="fab820a8-d04c-4fb7-bc62-495e227921e9" providerId="ADAL" clId="{7BA84AA0-DF91-44A9-A18C-3379702B0E32}" dt="2023-08-11T14:53:35.559" v="2428" actId="207"/>
          <ac:spMkLst>
            <pc:docMk/>
            <pc:sldMk cId="891120514" sldId="2147479596"/>
            <ac:spMk id="22" creationId="{D3F9DEBE-E8E6-DF2D-77CB-E8BC03BB42FF}"/>
          </ac:spMkLst>
        </pc:spChg>
        <pc:spChg chg="add mod">
          <ac:chgData name="Srivaths Swaminathan" userId="fab820a8-d04c-4fb7-bc62-495e227921e9" providerId="ADAL" clId="{7BA84AA0-DF91-44A9-A18C-3379702B0E32}" dt="2023-08-11T14:54:04.337" v="2438" actId="122"/>
          <ac:spMkLst>
            <pc:docMk/>
            <pc:sldMk cId="891120514" sldId="2147479596"/>
            <ac:spMk id="23" creationId="{64344103-5E10-8D37-8CEF-56AEB0BE8B47}"/>
          </ac:spMkLst>
        </pc:spChg>
        <pc:spChg chg="add mod">
          <ac:chgData name="Srivaths Swaminathan" userId="fab820a8-d04c-4fb7-bc62-495e227921e9" providerId="ADAL" clId="{7BA84AA0-DF91-44A9-A18C-3379702B0E32}" dt="2023-08-11T14:55:39.097" v="2666" actId="20577"/>
          <ac:spMkLst>
            <pc:docMk/>
            <pc:sldMk cId="891120514" sldId="2147479596"/>
            <ac:spMk id="24" creationId="{41FC746F-2C9F-682D-6E9A-C738527FB971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75" creationId="{25174ED9-8577-7A8E-AEBC-8C74A99D7054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76" creationId="{60D504BD-A1DD-6741-58FC-D339236DB993}"/>
          </ac:spMkLst>
        </pc:spChg>
        <pc:spChg chg="del">
          <ac:chgData name="Srivaths Swaminathan" userId="fab820a8-d04c-4fb7-bc62-495e227921e9" providerId="ADAL" clId="{7BA84AA0-DF91-44A9-A18C-3379702B0E32}" dt="2023-08-11T14:31:07.985" v="2324" actId="478"/>
          <ac:spMkLst>
            <pc:docMk/>
            <pc:sldMk cId="891120514" sldId="2147479596"/>
            <ac:spMk id="77" creationId="{F19DB44E-FE01-0C56-4056-FE6E0184F0EA}"/>
          </ac:spMkLst>
        </pc:spChg>
        <pc:graphicFrameChg chg="mod">
          <ac:chgData name="Srivaths Swaminathan" userId="fab820a8-d04c-4fb7-bc62-495e227921e9" providerId="ADAL" clId="{7BA84AA0-DF91-44A9-A18C-3379702B0E32}" dt="2023-08-17T17:46:19.650" v="9668"/>
          <ac:graphicFrameMkLst>
            <pc:docMk/>
            <pc:sldMk cId="891120514" sldId="2147479596"/>
            <ac:graphicFrameMk id="5" creationId="{5E89084F-A35B-6858-1B23-E3558C662082}"/>
          </ac:graphicFrameMkLst>
        </pc:graphicFrameChg>
        <pc:graphicFrameChg chg="del">
          <ac:chgData name="Srivaths Swaminathan" userId="fab820a8-d04c-4fb7-bc62-495e227921e9" providerId="ADAL" clId="{7BA84AA0-DF91-44A9-A18C-3379702B0E32}" dt="2023-08-11T14:31:07.985" v="2324" actId="478"/>
          <ac:graphicFrameMkLst>
            <pc:docMk/>
            <pc:sldMk cId="891120514" sldId="2147479596"/>
            <ac:graphicFrameMk id="9" creationId="{769C34BA-58EC-14C3-88E8-2829942397C3}"/>
          </ac:graphicFrameMkLst>
        </pc:graphicFrameChg>
        <pc:graphicFrameChg chg="mod">
          <ac:chgData name="Srivaths Swaminathan" userId="fab820a8-d04c-4fb7-bc62-495e227921e9" providerId="ADAL" clId="{7BA84AA0-DF91-44A9-A18C-3379702B0E32}" dt="2023-08-17T19:00:20.218" v="13028" actId="1076"/>
          <ac:graphicFrameMkLst>
            <pc:docMk/>
            <pc:sldMk cId="891120514" sldId="2147479596"/>
            <ac:graphicFrameMk id="12" creationId="{C917E2E4-D409-09B9-38CF-D16CF35887F5}"/>
          </ac:graphicFrameMkLst>
        </pc:graphicFrame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31" creationId="{E68BE096-943A-2ACD-C860-02BC60F236C5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33" creationId="{1B9253E8-BE8B-4110-EC0C-E17CDF87EC36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34" creationId="{B421045B-269B-0D08-8F82-F4B685841246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0" creationId="{297C39EA-68A8-4172-89E4-CEF04F4B0F6A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1" creationId="{0F773700-3021-4FCD-3971-8A6BEBE35E4C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2" creationId="{6435F6E7-3E35-D224-7493-9D651116ECB8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3" creationId="{EB163A7D-D88E-D230-A710-C0F70E6C2074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4" creationId="{F91622B5-534E-D8B9-BF5A-6426E5BB7298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5" creationId="{6B3B8E9C-68C9-89A9-6B8C-FD023699DD6C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6" creationId="{697296D8-DA37-B203-CACA-AB38D7AF68EF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7" creationId="{DE7322C5-F195-A9F8-C056-2C5DC1D2ABD8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8" creationId="{317BD67B-FE76-8A67-1ED3-2AAC0DAE034F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49" creationId="{EDA59548-1C7B-A6AC-79BF-0C60A207A92A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55" creationId="{2C89C735-D068-004F-733B-92F57D4C2D76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56" creationId="{E46D034D-AE9D-F2E4-3638-6664F4F28BB9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57" creationId="{DE60B93B-435F-5D3F-8A2C-08F9B1B56B37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58" creationId="{51AE5FFD-6EF4-CAD5-C0A2-466CDD1E3659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59" creationId="{AD278E52-D1A0-325F-2610-881311ED8E8C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60" creationId="{FB7476C1-3F68-339D-20F7-6DFBE539D7EA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61" creationId="{076865D0-1FFE-107E-F5BC-33CFA5782E66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73" creationId="{20B63361-EF2B-91AB-1F9B-1899B303F495}"/>
          </ac:picMkLst>
        </pc:picChg>
        <pc:picChg chg="del">
          <ac:chgData name="Srivaths Swaminathan" userId="fab820a8-d04c-4fb7-bc62-495e227921e9" providerId="ADAL" clId="{7BA84AA0-DF91-44A9-A18C-3379702B0E32}" dt="2023-08-11T14:31:07.985" v="2324" actId="478"/>
          <ac:picMkLst>
            <pc:docMk/>
            <pc:sldMk cId="891120514" sldId="2147479596"/>
            <ac:picMk id="74" creationId="{9EC3DF5F-AEA1-66D1-B7B8-F505B10AC8CB}"/>
          </ac:picMkLst>
        </pc:picChg>
      </pc:sldChg>
      <pc:sldChg chg="modSp add del mod ord modCm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30169280" sldId="2147479597"/>
        </pc:sldMkLst>
        <pc:spChg chg="mod">
          <ac:chgData name="Srivaths Swaminathan" userId="fab820a8-d04c-4fb7-bc62-495e227921e9" providerId="ADAL" clId="{7BA84AA0-DF91-44A9-A18C-3379702B0E32}" dt="2023-08-17T08:37:26.396" v="2690" actId="313"/>
          <ac:spMkLst>
            <pc:docMk/>
            <pc:sldMk cId="30169280" sldId="2147479597"/>
            <ac:spMk id="4" creationId="{5A14AA1A-EFBF-C2D8-C3F0-8C48878C878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7T08:37:26.396" v="2690" actId="313"/>
              <pc2:cmMkLst xmlns:pc2="http://schemas.microsoft.com/office/powerpoint/2019/9/main/command">
                <pc:docMk/>
                <pc:sldMk cId="30169280" sldId="2147479597"/>
                <pc2:cmMk id="{A607C5B6-20B0-4630-872A-E800107A9E86}"/>
              </pc2:cmMkLst>
            </pc226:cmChg>
          </p:ext>
        </pc:extLst>
      </pc:sldChg>
      <pc:sldChg chg="add del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3197476374" sldId="2147479598"/>
        </pc:sldMkLst>
      </pc:sldChg>
      <pc:sldChg chg="delSp 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878468969" sldId="2147479599"/>
        </pc:sldMkLst>
        <pc:spChg chg="mod">
          <ac:chgData name="Srivaths Swaminathan" userId="fab820a8-d04c-4fb7-bc62-495e227921e9" providerId="ADAL" clId="{7BA84AA0-DF91-44A9-A18C-3379702B0E32}" dt="2023-08-18T16:23:04.328" v="16612" actId="1076"/>
          <ac:spMkLst>
            <pc:docMk/>
            <pc:sldMk cId="1878468969" sldId="2147479599"/>
            <ac:spMk id="8" creationId="{CCA2972E-DB6B-1D85-D03B-DAF52BF4D396}"/>
          </ac:spMkLst>
        </pc:spChg>
        <pc:spChg chg="mod">
          <ac:chgData name="Srivaths Swaminathan" userId="fab820a8-d04c-4fb7-bc62-495e227921e9" providerId="ADAL" clId="{7BA84AA0-DF91-44A9-A18C-3379702B0E32}" dt="2023-08-17T18:11:55.957" v="10165" actId="1076"/>
          <ac:spMkLst>
            <pc:docMk/>
            <pc:sldMk cId="1878468969" sldId="2147479599"/>
            <ac:spMk id="257" creationId="{54FD9A00-7636-C855-5424-F1A292973C49}"/>
          </ac:spMkLst>
        </pc:spChg>
        <pc:spChg chg="del mod">
          <ac:chgData name="Srivaths Swaminathan" userId="fab820a8-d04c-4fb7-bc62-495e227921e9" providerId="ADAL" clId="{7BA84AA0-DF91-44A9-A18C-3379702B0E32}" dt="2023-08-17T18:11:35.713" v="10161" actId="478"/>
          <ac:spMkLst>
            <pc:docMk/>
            <pc:sldMk cId="1878468969" sldId="2147479599"/>
            <ac:spMk id="384" creationId="{B95B0FF1-3924-AF5E-6C56-69F599233240}"/>
          </ac:spMkLst>
        </pc:spChg>
        <pc:spChg chg="del">
          <ac:chgData name="Srivaths Swaminathan" userId="fab820a8-d04c-4fb7-bc62-495e227921e9" providerId="ADAL" clId="{7BA84AA0-DF91-44A9-A18C-3379702B0E32}" dt="2023-08-17T18:11:40.004" v="10162" actId="478"/>
          <ac:spMkLst>
            <pc:docMk/>
            <pc:sldMk cId="1878468969" sldId="2147479599"/>
            <ac:spMk id="386" creationId="{6ACD031F-10B2-B16D-9621-203802F1E6B5}"/>
          </ac:spMkLst>
        </pc:spChg>
        <pc:graphicFrameChg chg="mod">
          <ac:chgData name="Srivaths Swaminathan" userId="fab820a8-d04c-4fb7-bc62-495e227921e9" providerId="ADAL" clId="{7BA84AA0-DF91-44A9-A18C-3379702B0E32}" dt="2023-08-17T18:11:02.226" v="10159" actId="20577"/>
          <ac:graphicFrameMkLst>
            <pc:docMk/>
            <pc:sldMk cId="1878468969" sldId="2147479599"/>
            <ac:graphicFrameMk id="206" creationId="{CEB63050-13F3-C6EB-88B6-87F7D50DE287}"/>
          </ac:graphicFrameMkLst>
        </pc:graphicFrameChg>
        <pc:picChg chg="mod">
          <ac:chgData name="Srivaths Swaminathan" userId="fab820a8-d04c-4fb7-bc62-495e227921e9" providerId="ADAL" clId="{7BA84AA0-DF91-44A9-A18C-3379702B0E32}" dt="2023-08-17T18:11:49.813" v="10163" actId="1076"/>
          <ac:picMkLst>
            <pc:docMk/>
            <pc:sldMk cId="1878468969" sldId="2147479599"/>
            <ac:picMk id="3" creationId="{10E9141C-0E41-D1A9-22DC-5704F2981A3D}"/>
          </ac:picMkLst>
        </pc:picChg>
        <pc:picChg chg="del">
          <ac:chgData name="Srivaths Swaminathan" userId="fab820a8-d04c-4fb7-bc62-495e227921e9" providerId="ADAL" clId="{7BA84AA0-DF91-44A9-A18C-3379702B0E32}" dt="2023-08-17T18:11:40.004" v="10162" actId="478"/>
          <ac:picMkLst>
            <pc:docMk/>
            <pc:sldMk cId="1878468969" sldId="2147479599"/>
            <ac:picMk id="388" creationId="{7F93C5AA-1831-3117-84E4-1E8C64C196D4}"/>
          </ac:picMkLst>
        </pc:picChg>
      </pc:sldChg>
      <pc:sldChg chg="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430291838" sldId="2147479600"/>
        </pc:sldMkLst>
      </pc:sldChg>
      <pc:sldChg chg="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747172435" sldId="2147479601"/>
        </pc:sldMkLst>
        <pc:graphicFrameChg chg="mod">
          <ac:chgData name="Srivaths Swaminathan" userId="fab820a8-d04c-4fb7-bc62-495e227921e9" providerId="ADAL" clId="{7BA84AA0-DF91-44A9-A18C-3379702B0E32}" dt="2023-08-17T19:00:16.022" v="13018" actId="1076"/>
          <ac:graphicFrameMkLst>
            <pc:docMk/>
            <pc:sldMk cId="747172435" sldId="2147479601"/>
            <ac:graphicFrameMk id="12" creationId="{C917E2E4-D409-09B9-38CF-D16CF35887F5}"/>
          </ac:graphicFrameMkLst>
        </pc:graphicFrameChg>
      </pc:sldChg>
      <pc:sldChg chg="del">
        <pc:chgData name="Srivaths Swaminathan" userId="fab820a8-d04c-4fb7-bc62-495e227921e9" providerId="ADAL" clId="{7BA84AA0-DF91-44A9-A18C-3379702B0E32}" dt="2023-08-17T18:58:37.475" v="12986" actId="47"/>
        <pc:sldMkLst>
          <pc:docMk/>
          <pc:sldMk cId="652076815" sldId="2147479602"/>
        </pc:sldMkLst>
      </pc:sldChg>
      <pc:sldChg chg="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297789210" sldId="2147479603"/>
        </pc:sldMkLst>
        <pc:graphicFrameChg chg="mod">
          <ac:chgData name="Srivaths Swaminathan" userId="fab820a8-d04c-4fb7-bc62-495e227921e9" providerId="ADAL" clId="{7BA84AA0-DF91-44A9-A18C-3379702B0E32}" dt="2023-08-17T19:00:22.126" v="13036" actId="1076"/>
          <ac:graphicFrameMkLst>
            <pc:docMk/>
            <pc:sldMk cId="1297789210" sldId="2147479603"/>
            <ac:graphicFrameMk id="12" creationId="{C917E2E4-D409-09B9-38CF-D16CF35887F5}"/>
          </ac:graphicFrameMkLst>
        </pc:graphicFrameChg>
      </pc:sldChg>
      <pc:sldChg chg="addSp delSp 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4010332852" sldId="2147479604"/>
        </pc:sldMkLst>
        <pc:spChg chg="add del mod">
          <ac:chgData name="Srivaths Swaminathan" userId="fab820a8-d04c-4fb7-bc62-495e227921e9" providerId="ADAL" clId="{7BA84AA0-DF91-44A9-A18C-3379702B0E32}" dt="2023-08-18T14:06:21.768" v="13300" actId="478"/>
          <ac:spMkLst>
            <pc:docMk/>
            <pc:sldMk cId="4010332852" sldId="2147479604"/>
            <ac:spMk id="3" creationId="{90D34B66-0FDC-ADD9-6890-5BF5C093A739}"/>
          </ac:spMkLst>
        </pc:spChg>
        <pc:spChg chg="mod">
          <ac:chgData name="Srivaths Swaminathan" userId="fab820a8-d04c-4fb7-bc62-495e227921e9" providerId="ADAL" clId="{7BA84AA0-DF91-44A9-A18C-3379702B0E32}" dt="2023-08-17T08:23:51.370" v="2689" actId="20577"/>
          <ac:spMkLst>
            <pc:docMk/>
            <pc:sldMk cId="4010332852" sldId="2147479604"/>
            <ac:spMk id="4" creationId="{1F69087E-2118-B032-7043-20AEEB648D16}"/>
          </ac:spMkLst>
        </pc:spChg>
        <pc:spChg chg="add mod">
          <ac:chgData name="Srivaths Swaminathan" userId="fab820a8-d04c-4fb7-bc62-495e227921e9" providerId="ADAL" clId="{7BA84AA0-DF91-44A9-A18C-3379702B0E32}" dt="2023-08-18T14:11:09.760" v="13342"/>
          <ac:spMkLst>
            <pc:docMk/>
            <pc:sldMk cId="4010332852" sldId="2147479604"/>
            <ac:spMk id="6" creationId="{8ED474F4-02A1-5587-1055-BBFFECBB4664}"/>
          </ac:spMkLst>
        </pc:spChg>
        <pc:spChg chg="add mod">
          <ac:chgData name="Srivaths Swaminathan" userId="fab820a8-d04c-4fb7-bc62-495e227921e9" providerId="ADAL" clId="{7BA84AA0-DF91-44A9-A18C-3379702B0E32}" dt="2023-08-18T14:11:09.760" v="13342"/>
          <ac:spMkLst>
            <pc:docMk/>
            <pc:sldMk cId="4010332852" sldId="2147479604"/>
            <ac:spMk id="7" creationId="{0C8C3E47-2B62-2D43-A9BD-598878AA48D4}"/>
          </ac:spMkLst>
        </pc:spChg>
        <pc:spChg chg="del">
          <ac:chgData name="Srivaths Swaminathan" userId="fab820a8-d04c-4fb7-bc62-495e227921e9" providerId="ADAL" clId="{7BA84AA0-DF91-44A9-A18C-3379702B0E32}" dt="2023-08-18T14:15:43.193" v="13352" actId="478"/>
          <ac:spMkLst>
            <pc:docMk/>
            <pc:sldMk cId="4010332852" sldId="2147479604"/>
            <ac:spMk id="100" creationId="{AD7A2038-5539-9C60-6944-C2141494C71B}"/>
          </ac:spMkLst>
        </pc:spChg>
        <pc:spChg chg="del">
          <ac:chgData name="Srivaths Swaminathan" userId="fab820a8-d04c-4fb7-bc62-495e227921e9" providerId="ADAL" clId="{7BA84AA0-DF91-44A9-A18C-3379702B0E32}" dt="2023-08-18T14:15:43.193" v="13352" actId="478"/>
          <ac:spMkLst>
            <pc:docMk/>
            <pc:sldMk cId="4010332852" sldId="2147479604"/>
            <ac:spMk id="101" creationId="{53A8C7DF-F2ED-AB65-5E1A-F05DA134182B}"/>
          </ac:spMkLst>
        </pc:spChg>
        <pc:spChg chg="del">
          <ac:chgData name="Srivaths Swaminathan" userId="fab820a8-d04c-4fb7-bc62-495e227921e9" providerId="ADAL" clId="{7BA84AA0-DF91-44A9-A18C-3379702B0E32}" dt="2023-08-18T14:15:43.193" v="13352" actId="478"/>
          <ac:spMkLst>
            <pc:docMk/>
            <pc:sldMk cId="4010332852" sldId="2147479604"/>
            <ac:spMk id="102" creationId="{C714B685-651D-D353-A5FE-562B619DF1CC}"/>
          </ac:spMkLst>
        </pc:spChg>
        <pc:spChg chg="del mod">
          <ac:chgData name="Srivaths Swaminathan" userId="fab820a8-d04c-4fb7-bc62-495e227921e9" providerId="ADAL" clId="{7BA84AA0-DF91-44A9-A18C-3379702B0E32}" dt="2023-08-18T14:15:43.193" v="13352" actId="478"/>
          <ac:spMkLst>
            <pc:docMk/>
            <pc:sldMk cId="4010332852" sldId="2147479604"/>
            <ac:spMk id="103" creationId="{BB591CFC-E809-DB8A-A72D-AB07918300FF}"/>
          </ac:spMkLst>
        </pc:spChg>
        <pc:grpChg chg="add mod">
          <ac:chgData name="Srivaths Swaminathan" userId="fab820a8-d04c-4fb7-bc62-495e227921e9" providerId="ADAL" clId="{7BA84AA0-DF91-44A9-A18C-3379702B0E32}" dt="2023-08-18T14:11:09.760" v="13342"/>
          <ac:grpSpMkLst>
            <pc:docMk/>
            <pc:sldMk cId="4010332852" sldId="2147479604"/>
            <ac:grpSpMk id="5" creationId="{EBC78CC0-9E9F-6A93-993F-7F735223E564}"/>
          </ac:grpSpMkLst>
        </pc:grpChg>
        <pc:graphicFrameChg chg="add mod">
          <ac:chgData name="Srivaths Swaminathan" userId="fab820a8-d04c-4fb7-bc62-495e227921e9" providerId="ADAL" clId="{7BA84AA0-DF91-44A9-A18C-3379702B0E32}" dt="2023-08-18T14:15:28.860" v="13351"/>
          <ac:graphicFrameMkLst>
            <pc:docMk/>
            <pc:sldMk cId="4010332852" sldId="2147479604"/>
            <ac:graphicFrameMk id="9" creationId="{1301B766-A942-372E-B3DD-02E60D0D9994}"/>
          </ac:graphicFrameMkLst>
        </pc:graphicFrameChg>
        <pc:graphicFrameChg chg="add mod modGraphic">
          <ac:chgData name="Srivaths Swaminathan" userId="fab820a8-d04c-4fb7-bc62-495e227921e9" providerId="ADAL" clId="{7BA84AA0-DF91-44A9-A18C-3379702B0E32}" dt="2023-08-18T14:25:40.982" v="13402" actId="20577"/>
          <ac:graphicFrameMkLst>
            <pc:docMk/>
            <pc:sldMk cId="4010332852" sldId="2147479604"/>
            <ac:graphicFrameMk id="10" creationId="{6F9F0BCA-A3B0-03E0-7411-1F04EF2CAD89}"/>
          </ac:graphicFrameMkLst>
        </pc:graphicFrameChg>
        <pc:graphicFrameChg chg="mod">
          <ac:chgData name="Srivaths Swaminathan" userId="fab820a8-d04c-4fb7-bc62-495e227921e9" providerId="ADAL" clId="{7BA84AA0-DF91-44A9-A18C-3379702B0E32}" dt="2023-08-17T19:00:21.081" v="13032" actId="1076"/>
          <ac:graphicFrameMkLst>
            <pc:docMk/>
            <pc:sldMk cId="4010332852" sldId="2147479604"/>
            <ac:graphicFrameMk id="12" creationId="{C917E2E4-D409-09B9-38CF-D16CF35887F5}"/>
          </ac:graphicFrameMkLst>
        </pc:graphicFrameChg>
      </pc:sldChg>
      <pc:sldChg chg="addSp delSp modSp add del mod ord">
        <pc:chgData name="Srivaths Swaminathan" userId="fab820a8-d04c-4fb7-bc62-495e227921e9" providerId="ADAL" clId="{7BA84AA0-DF91-44A9-A18C-3379702B0E32}" dt="2023-09-06T17:04:11.410" v="36924" actId="47"/>
        <pc:sldMkLst>
          <pc:docMk/>
          <pc:sldMk cId="3869696896" sldId="2147479605"/>
        </pc:sldMkLst>
        <pc:spChg chg="mod">
          <ac:chgData name="Srivaths Swaminathan" userId="fab820a8-d04c-4fb7-bc62-495e227921e9" providerId="ADAL" clId="{7BA84AA0-DF91-44A9-A18C-3379702B0E32}" dt="2023-08-30T17:12:02.789" v="28780" actId="948"/>
          <ac:spMkLst>
            <pc:docMk/>
            <pc:sldMk cId="3869696896" sldId="2147479605"/>
            <ac:spMk id="2" creationId="{481CB157-3BB7-FF88-2269-A356B94101D1}"/>
          </ac:spMkLst>
        </pc:spChg>
        <pc:spChg chg="add del mod modVis">
          <ac:chgData name="Srivaths Swaminathan" userId="fab820a8-d04c-4fb7-bc62-495e227921e9" providerId="ADAL" clId="{7BA84AA0-DF91-44A9-A18C-3379702B0E32}" dt="2023-08-21T08:31:21.064" v="18391"/>
          <ac:spMkLst>
            <pc:docMk/>
            <pc:sldMk cId="3869696896" sldId="2147479605"/>
            <ac:spMk id="3" creationId="{3FECFE12-B814-A5FA-D0A6-7BAB8D896DA2}"/>
          </ac:spMkLst>
        </pc:spChg>
        <pc:spChg chg="del">
          <ac:chgData name="Srivaths Swaminathan" userId="fab820a8-d04c-4fb7-bc62-495e227921e9" providerId="ADAL" clId="{7BA84AA0-DF91-44A9-A18C-3379702B0E32}" dt="2023-08-17T19:01:00.405" v="13097" actId="478"/>
          <ac:spMkLst>
            <pc:docMk/>
            <pc:sldMk cId="3869696896" sldId="2147479605"/>
            <ac:spMk id="3" creationId="{BC933FBF-6CDF-1DD9-B63D-64D74E36C945}"/>
          </ac:spMkLst>
        </pc:spChg>
        <pc:spChg chg="add del mod modVis">
          <ac:chgData name="Srivaths Swaminathan" userId="fab820a8-d04c-4fb7-bc62-495e227921e9" providerId="ADAL" clId="{7BA84AA0-DF91-44A9-A18C-3379702B0E32}" dt="2023-08-30T17:11:58.209" v="28776"/>
          <ac:spMkLst>
            <pc:docMk/>
            <pc:sldMk cId="3869696896" sldId="2147479605"/>
            <ac:spMk id="3" creationId="{E145E697-6967-3A72-CDAE-25E2AA8B8F8C}"/>
          </ac:spMkLst>
        </pc:spChg>
        <pc:spChg chg="add mod">
          <ac:chgData name="Srivaths Swaminathan" userId="fab820a8-d04c-4fb7-bc62-495e227921e9" providerId="ADAL" clId="{7BA84AA0-DF91-44A9-A18C-3379702B0E32}" dt="2023-08-25T16:10:45.088" v="27656" actId="1035"/>
          <ac:spMkLst>
            <pc:docMk/>
            <pc:sldMk cId="3869696896" sldId="2147479605"/>
            <ac:spMk id="4" creationId="{20438F63-4B25-4853-87F3-3ACB326C4301}"/>
          </ac:spMkLst>
        </pc:spChg>
        <pc:spChg chg="del mod">
          <ac:chgData name="Srivaths Swaminathan" userId="fab820a8-d04c-4fb7-bc62-495e227921e9" providerId="ADAL" clId="{7BA84AA0-DF91-44A9-A18C-3379702B0E32}" dt="2023-08-17T19:00:57.452" v="13096" actId="478"/>
          <ac:spMkLst>
            <pc:docMk/>
            <pc:sldMk cId="3869696896" sldId="2147479605"/>
            <ac:spMk id="4" creationId="{AEFE8DC0-3942-314E-87EC-DCF0FC237082}"/>
          </ac:spMkLst>
        </pc:spChg>
        <pc:spChg chg="add del mod modVis">
          <ac:chgData name="Srivaths Swaminathan" userId="fab820a8-d04c-4fb7-bc62-495e227921e9" providerId="ADAL" clId="{7BA84AA0-DF91-44A9-A18C-3379702B0E32}" dt="2023-08-17T19:00:55.385" v="13079"/>
          <ac:spMkLst>
            <pc:docMk/>
            <pc:sldMk cId="3869696896" sldId="2147479605"/>
            <ac:spMk id="5" creationId="{16EDF02E-8ED9-150E-8366-9C7E35E1159F}"/>
          </ac:spMkLst>
        </pc:spChg>
        <pc:spChg chg="add del mod modVis">
          <ac:chgData name="Srivaths Swaminathan" userId="fab820a8-d04c-4fb7-bc62-495e227921e9" providerId="ADAL" clId="{7BA84AA0-DF91-44A9-A18C-3379702B0E32}" dt="2023-08-30T17:12:02.843" v="28804"/>
          <ac:spMkLst>
            <pc:docMk/>
            <pc:sldMk cId="3869696896" sldId="2147479605"/>
            <ac:spMk id="5" creationId="{3D0B1A5E-2B57-89E0-DD2E-B28913B41B8F}"/>
          </ac:spMkLst>
        </pc:spChg>
        <pc:spChg chg="add del mod">
          <ac:chgData name="Srivaths Swaminathan" userId="fab820a8-d04c-4fb7-bc62-495e227921e9" providerId="ADAL" clId="{7BA84AA0-DF91-44A9-A18C-3379702B0E32}" dt="2023-08-25T16:11:40.068" v="27688" actId="478"/>
          <ac:spMkLst>
            <pc:docMk/>
            <pc:sldMk cId="3869696896" sldId="2147479605"/>
            <ac:spMk id="5" creationId="{E7FD6F44-6D9B-4A82-C134-C3C8428F40B9}"/>
          </ac:spMkLst>
        </pc:spChg>
        <pc:spChg chg="add mod">
          <ac:chgData name="Srivaths Swaminathan" userId="fab820a8-d04c-4fb7-bc62-495e227921e9" providerId="ADAL" clId="{7BA84AA0-DF91-44A9-A18C-3379702B0E32}" dt="2023-08-25T16:15:07.317" v="27753" actId="1036"/>
          <ac:spMkLst>
            <pc:docMk/>
            <pc:sldMk cId="3869696896" sldId="2147479605"/>
            <ac:spMk id="7" creationId="{CEB84A1F-3DAF-C188-4EB7-EDDDAF39D6AC}"/>
          </ac:spMkLst>
        </pc:spChg>
        <pc:spChg chg="add mod">
          <ac:chgData name="Srivaths Swaminathan" userId="fab820a8-d04c-4fb7-bc62-495e227921e9" providerId="ADAL" clId="{7BA84AA0-DF91-44A9-A18C-3379702B0E32}" dt="2023-08-25T16:11:06.969" v="27659" actId="1076"/>
          <ac:spMkLst>
            <pc:docMk/>
            <pc:sldMk cId="3869696896" sldId="2147479605"/>
            <ac:spMk id="8" creationId="{31E3F73F-8813-E8B8-A8A4-2FCD7413F2A4}"/>
          </ac:spMkLst>
        </pc:spChg>
        <pc:spChg chg="add mod">
          <ac:chgData name="Srivaths Swaminathan" userId="fab820a8-d04c-4fb7-bc62-495e227921e9" providerId="ADAL" clId="{7BA84AA0-DF91-44A9-A18C-3379702B0E32}" dt="2023-08-25T16:24:12.589" v="28330" actId="1037"/>
          <ac:spMkLst>
            <pc:docMk/>
            <pc:sldMk cId="3869696896" sldId="2147479605"/>
            <ac:spMk id="9" creationId="{4AD5DA65-63FE-F043-6217-B0D22005D01E}"/>
          </ac:spMkLst>
        </pc:spChg>
        <pc:spChg chg="add mod">
          <ac:chgData name="Srivaths Swaminathan" userId="fab820a8-d04c-4fb7-bc62-495e227921e9" providerId="ADAL" clId="{7BA84AA0-DF91-44A9-A18C-3379702B0E32}" dt="2023-08-25T16:10:11.327" v="27537" actId="1076"/>
          <ac:spMkLst>
            <pc:docMk/>
            <pc:sldMk cId="3869696896" sldId="2147479605"/>
            <ac:spMk id="11" creationId="{34730638-E8C0-9646-ACFA-A4C5A2988104}"/>
          </ac:spMkLst>
        </pc:spChg>
        <pc:spChg chg="add mod">
          <ac:chgData name="Srivaths Swaminathan" userId="fab820a8-d04c-4fb7-bc62-495e227921e9" providerId="ADAL" clId="{7BA84AA0-DF91-44A9-A18C-3379702B0E32}" dt="2023-08-25T16:10:49.031" v="27657" actId="1076"/>
          <ac:spMkLst>
            <pc:docMk/>
            <pc:sldMk cId="3869696896" sldId="2147479605"/>
            <ac:spMk id="12" creationId="{E0566CD2-C040-1887-FC0A-4256C6850BCA}"/>
          </ac:spMkLst>
        </pc:spChg>
        <pc:spChg chg="add mod">
          <ac:chgData name="Srivaths Swaminathan" userId="fab820a8-d04c-4fb7-bc62-495e227921e9" providerId="ADAL" clId="{7BA84AA0-DF91-44A9-A18C-3379702B0E32}" dt="2023-08-25T16:10:11.327" v="27537" actId="1076"/>
          <ac:spMkLst>
            <pc:docMk/>
            <pc:sldMk cId="3869696896" sldId="2147479605"/>
            <ac:spMk id="13" creationId="{585FCCE2-2245-1B80-CDEF-FB20E7C0F3CC}"/>
          </ac:spMkLst>
        </pc:spChg>
        <pc:spChg chg="add mod">
          <ac:chgData name="Srivaths Swaminathan" userId="fab820a8-d04c-4fb7-bc62-495e227921e9" providerId="ADAL" clId="{7BA84AA0-DF91-44A9-A18C-3379702B0E32}" dt="2023-08-25T16:10:11.327" v="27537" actId="1076"/>
          <ac:spMkLst>
            <pc:docMk/>
            <pc:sldMk cId="3869696896" sldId="2147479605"/>
            <ac:spMk id="14" creationId="{7D3A9463-1091-D2C4-E0E5-9927B3B2973D}"/>
          </ac:spMkLst>
        </pc:spChg>
        <pc:spChg chg="add mod">
          <ac:chgData name="Srivaths Swaminathan" userId="fab820a8-d04c-4fb7-bc62-495e227921e9" providerId="ADAL" clId="{7BA84AA0-DF91-44A9-A18C-3379702B0E32}" dt="2023-08-25T16:10:11.327" v="27537" actId="1076"/>
          <ac:spMkLst>
            <pc:docMk/>
            <pc:sldMk cId="3869696896" sldId="2147479605"/>
            <ac:spMk id="15" creationId="{4053083D-A6D3-406B-A535-9CB76AE4D005}"/>
          </ac:spMkLst>
        </pc:spChg>
        <pc:spChg chg="add del mod modVis">
          <ac:chgData name="Srivaths Swaminathan" userId="fab820a8-d04c-4fb7-bc62-495e227921e9" providerId="ADAL" clId="{7BA84AA0-DF91-44A9-A18C-3379702B0E32}" dt="2023-08-25T16:10:25.983" v="27587" actId="962"/>
          <ac:spMkLst>
            <pc:docMk/>
            <pc:sldMk cId="3869696896" sldId="2147479605"/>
            <ac:spMk id="16" creationId="{A1F7802D-535C-9D59-18E8-073DA43D7DE0}"/>
          </ac:spMkLst>
        </pc:spChg>
        <pc:spChg chg="add del mod modVis">
          <ac:chgData name="Srivaths Swaminathan" userId="fab820a8-d04c-4fb7-bc62-495e227921e9" providerId="ADAL" clId="{7BA84AA0-DF91-44A9-A18C-3379702B0E32}" dt="2023-08-25T16:10:36.459" v="27617"/>
          <ac:spMkLst>
            <pc:docMk/>
            <pc:sldMk cId="3869696896" sldId="2147479605"/>
            <ac:spMk id="17" creationId="{3E9B9453-B8AC-A027-C796-774DE31B8C52}"/>
          </ac:spMkLst>
        </pc:spChg>
        <pc:spChg chg="add mod">
          <ac:chgData name="Srivaths Swaminathan" userId="fab820a8-d04c-4fb7-bc62-495e227921e9" providerId="ADAL" clId="{7BA84AA0-DF91-44A9-A18C-3379702B0E32}" dt="2023-08-25T16:15:12.545" v="27762" actId="1036"/>
          <ac:spMkLst>
            <pc:docMk/>
            <pc:sldMk cId="3869696896" sldId="2147479605"/>
            <ac:spMk id="18" creationId="{62F75E29-8D11-699B-7B89-28F253142F5C}"/>
          </ac:spMkLst>
        </pc:spChg>
        <pc:spChg chg="add mod">
          <ac:chgData name="Srivaths Swaminathan" userId="fab820a8-d04c-4fb7-bc62-495e227921e9" providerId="ADAL" clId="{7BA84AA0-DF91-44A9-A18C-3379702B0E32}" dt="2023-08-25T16:15:07.317" v="27753" actId="1036"/>
          <ac:spMkLst>
            <pc:docMk/>
            <pc:sldMk cId="3869696896" sldId="2147479605"/>
            <ac:spMk id="19" creationId="{E7C614B5-A41F-2D08-D6FD-89F45A874745}"/>
          </ac:spMkLst>
        </pc:spChg>
        <pc:spChg chg="add mod">
          <ac:chgData name="Srivaths Swaminathan" userId="fab820a8-d04c-4fb7-bc62-495e227921e9" providerId="ADAL" clId="{7BA84AA0-DF91-44A9-A18C-3379702B0E32}" dt="2023-08-25T16:14:44.758" v="27738" actId="552"/>
          <ac:spMkLst>
            <pc:docMk/>
            <pc:sldMk cId="3869696896" sldId="2147479605"/>
            <ac:spMk id="20" creationId="{990F8E83-30BE-603C-A54E-61D76EAB882C}"/>
          </ac:spMkLst>
        </pc:spChg>
        <pc:spChg chg="add del mod modVis">
          <ac:chgData name="Srivaths Swaminathan" userId="fab820a8-d04c-4fb7-bc62-495e227921e9" providerId="ADAL" clId="{7BA84AA0-DF91-44A9-A18C-3379702B0E32}" dt="2023-08-25T16:15:26.760" v="27812"/>
          <ac:spMkLst>
            <pc:docMk/>
            <pc:sldMk cId="3869696896" sldId="2147479605"/>
            <ac:spMk id="21" creationId="{12CFD430-89F2-9DAB-41F5-745C8427DB4D}"/>
          </ac:spMkLst>
        </pc:spChg>
        <pc:spChg chg="add del mod modVis">
          <ac:chgData name="Srivaths Swaminathan" userId="fab820a8-d04c-4fb7-bc62-495e227921e9" providerId="ADAL" clId="{7BA84AA0-DF91-44A9-A18C-3379702B0E32}" dt="2023-08-25T16:15:28.207" v="27846"/>
          <ac:spMkLst>
            <pc:docMk/>
            <pc:sldMk cId="3869696896" sldId="2147479605"/>
            <ac:spMk id="22" creationId="{226A40A5-644C-6BE9-ACFA-42C31C7A3D64}"/>
          </ac:spMkLst>
        </pc:spChg>
        <pc:spChg chg="add del mod modVis">
          <ac:chgData name="Srivaths Swaminathan" userId="fab820a8-d04c-4fb7-bc62-495e227921e9" providerId="ADAL" clId="{7BA84AA0-DF91-44A9-A18C-3379702B0E32}" dt="2023-08-25T16:15:32.982" v="27896"/>
          <ac:spMkLst>
            <pc:docMk/>
            <pc:sldMk cId="3869696896" sldId="2147479605"/>
            <ac:spMk id="23" creationId="{E4CB646B-558F-F7C7-8B42-6C43BD654564}"/>
          </ac:spMkLst>
        </pc:spChg>
        <pc:spChg chg="add del mod modVis">
          <ac:chgData name="Srivaths Swaminathan" userId="fab820a8-d04c-4fb7-bc62-495e227921e9" providerId="ADAL" clId="{7BA84AA0-DF91-44A9-A18C-3379702B0E32}" dt="2023-08-25T16:24:49.347" v="28422"/>
          <ac:spMkLst>
            <pc:docMk/>
            <pc:sldMk cId="3869696896" sldId="2147479605"/>
            <ac:spMk id="24" creationId="{7C9B9A92-9ECD-371F-4677-E9ECBAF55729}"/>
          </ac:spMkLst>
        </pc:spChg>
        <pc:spChg chg="add del mod modVis">
          <ac:chgData name="Srivaths Swaminathan" userId="fab820a8-d04c-4fb7-bc62-495e227921e9" providerId="ADAL" clId="{7BA84AA0-DF91-44A9-A18C-3379702B0E32}" dt="2023-08-25T16:24:51.649" v="28450"/>
          <ac:spMkLst>
            <pc:docMk/>
            <pc:sldMk cId="3869696896" sldId="2147479605"/>
            <ac:spMk id="25" creationId="{9804454D-9A30-8836-F1C9-462E590A9AA5}"/>
          </ac:spMkLst>
        </pc:spChg>
        <pc:graphicFrameChg chg="add del mod modGraphic">
          <ac:chgData name="Srivaths Swaminathan" userId="fab820a8-d04c-4fb7-bc62-495e227921e9" providerId="ADAL" clId="{7BA84AA0-DF91-44A9-A18C-3379702B0E32}" dt="2023-08-25T16:09:53.671" v="27535" actId="478"/>
          <ac:graphicFrameMkLst>
            <pc:docMk/>
            <pc:sldMk cId="3869696896" sldId="2147479605"/>
            <ac:graphicFrameMk id="3" creationId="{934522E0-8816-9852-8547-3F59F6DF3F24}"/>
          </ac:graphicFrameMkLst>
        </pc:graphicFrameChg>
        <pc:graphicFrameChg chg="add mod ord modVis replST">
          <ac:chgData name="Srivaths Swaminathan" userId="fab820a8-d04c-4fb7-bc62-495e227921e9" providerId="ADAL" clId="{7BA84AA0-DF91-44A9-A18C-3379702B0E32}" dt="2023-09-06T17:03:45.651" v="36921"/>
          <ac:graphicFrameMkLst>
            <pc:docMk/>
            <pc:sldMk cId="3869696896" sldId="2147479605"/>
            <ac:graphicFrameMk id="6" creationId="{BEA99182-135A-73D7-4F38-EBDD62D3EE83}"/>
          </ac:graphicFrameMkLst>
        </pc:graphicFrameChg>
        <pc:picChg chg="add mod">
          <ac:chgData name="Srivaths Swaminathan" userId="fab820a8-d04c-4fb7-bc62-495e227921e9" providerId="ADAL" clId="{7BA84AA0-DF91-44A9-A18C-3379702B0E32}" dt="2023-08-25T16:24:20.279" v="28331" actId="1076"/>
          <ac:picMkLst>
            <pc:docMk/>
            <pc:sldMk cId="3869696896" sldId="2147479605"/>
            <ac:picMk id="10" creationId="{B88A3911-1776-036F-1613-FEB329CD1F9D}"/>
          </ac:picMkLst>
        </pc:picChg>
      </pc:sldChg>
      <pc:sldChg chg="modSp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613283245" sldId="2147479606"/>
        </pc:sldMkLst>
        <pc:spChg chg="mod">
          <ac:chgData name="Srivaths Swaminathan" userId="fab820a8-d04c-4fb7-bc62-495e227921e9" providerId="ADAL" clId="{7BA84AA0-DF91-44A9-A18C-3379702B0E32}" dt="2023-08-18T16:23:08.500" v="16616" actId="1076"/>
          <ac:spMkLst>
            <pc:docMk/>
            <pc:sldMk cId="1613283245" sldId="2147479606"/>
            <ac:spMk id="18" creationId="{0AA1ADB4-919C-888E-35AD-9C0C88585BE1}"/>
          </ac:spMkLst>
        </pc:spChg>
        <pc:graphicFrameChg chg="mod">
          <ac:chgData name="Srivaths Swaminathan" userId="fab820a8-d04c-4fb7-bc62-495e227921e9" providerId="ADAL" clId="{7BA84AA0-DF91-44A9-A18C-3379702B0E32}" dt="2023-08-18T16:23:06.268" v="16615"/>
          <ac:graphicFrameMkLst>
            <pc:docMk/>
            <pc:sldMk cId="1613283245" sldId="2147479606"/>
            <ac:graphicFrameMk id="12" creationId="{C917E2E4-D409-09B9-38CF-D16CF35887F5}"/>
          </ac:graphicFrameMkLst>
        </pc:graphicFrameChg>
      </pc:sldChg>
      <pc:sldChg chg="modSp new add del mod">
        <pc:chgData name="Srivaths Swaminathan" userId="fab820a8-d04c-4fb7-bc62-495e227921e9" providerId="ADAL" clId="{7BA84AA0-DF91-44A9-A18C-3379702B0E32}" dt="2023-08-17T18:58:02.155" v="12984" actId="47"/>
        <pc:sldMkLst>
          <pc:docMk/>
          <pc:sldMk cId="1141647893" sldId="2147479607"/>
        </pc:sldMkLst>
        <pc:spChg chg="mod">
          <ac:chgData name="Srivaths Swaminathan" userId="fab820a8-d04c-4fb7-bc62-495e227921e9" providerId="ADAL" clId="{7BA84AA0-DF91-44A9-A18C-3379702B0E32}" dt="2023-08-17T11:11:33.358" v="4463" actId="20577"/>
          <ac:spMkLst>
            <pc:docMk/>
            <pc:sldMk cId="1141647893" sldId="2147479607"/>
            <ac:spMk id="4" creationId="{8B2CD603-328B-5699-239D-EA0835B4E406}"/>
          </ac:spMkLst>
        </pc:spChg>
      </pc:sldChg>
      <pc:sldChg chg="addSp modSp new add del mod">
        <pc:chgData name="Srivaths Swaminathan" userId="fab820a8-d04c-4fb7-bc62-495e227921e9" providerId="ADAL" clId="{7BA84AA0-DF91-44A9-A18C-3379702B0E32}" dt="2023-08-17T18:56:36.259" v="12982" actId="47"/>
        <pc:sldMkLst>
          <pc:docMk/>
          <pc:sldMk cId="3208342877" sldId="2147479608"/>
        </pc:sldMkLst>
        <pc:spChg chg="mod">
          <ac:chgData name="Srivaths Swaminathan" userId="fab820a8-d04c-4fb7-bc62-495e227921e9" providerId="ADAL" clId="{7BA84AA0-DF91-44A9-A18C-3379702B0E32}" dt="2023-08-17T10:44:28.044" v="3754" actId="948"/>
          <ac:spMkLst>
            <pc:docMk/>
            <pc:sldMk cId="3208342877" sldId="2147479608"/>
            <ac:spMk id="2" creationId="{0460E2B7-430F-04F9-0F9E-F69F232968F0}"/>
          </ac:spMkLst>
        </pc:spChg>
        <pc:spChg chg="mod">
          <ac:chgData name="Srivaths Swaminathan" userId="fab820a8-d04c-4fb7-bc62-495e227921e9" providerId="ADAL" clId="{7BA84AA0-DF91-44A9-A18C-3379702B0E32}" dt="2023-08-17T10:45:16.589" v="3872" actId="20577"/>
          <ac:spMkLst>
            <pc:docMk/>
            <pc:sldMk cId="3208342877" sldId="2147479608"/>
            <ac:spMk id="4" creationId="{A52AB652-A050-32E0-7DC6-CFE4591E2B79}"/>
          </ac:spMkLst>
        </pc:spChg>
        <pc:graphicFrameChg chg="add mod ord modVis replST">
          <ac:chgData name="Srivaths Swaminathan" userId="fab820a8-d04c-4fb7-bc62-495e227921e9" providerId="ADAL" clId="{7BA84AA0-DF91-44A9-A18C-3379702B0E32}" dt="2023-08-17T10:44:28.156" v="3771"/>
          <ac:graphicFrameMkLst>
            <pc:docMk/>
            <pc:sldMk cId="3208342877" sldId="2147479608"/>
            <ac:graphicFrameMk id="5" creationId="{324E8606-FA49-FB7B-638A-5BE53D9B8AA4}"/>
          </ac:graphicFrameMkLst>
        </pc:graphicFrameChg>
      </pc:sldChg>
      <pc:sldChg chg="modSp new add del mod">
        <pc:chgData name="Srivaths Swaminathan" userId="fab820a8-d04c-4fb7-bc62-495e227921e9" providerId="ADAL" clId="{7BA84AA0-DF91-44A9-A18C-3379702B0E32}" dt="2023-08-17T18:56:52.126" v="12983" actId="47"/>
        <pc:sldMkLst>
          <pc:docMk/>
          <pc:sldMk cId="2357494347" sldId="2147479609"/>
        </pc:sldMkLst>
        <pc:spChg chg="mod">
          <ac:chgData name="Srivaths Swaminathan" userId="fab820a8-d04c-4fb7-bc62-495e227921e9" providerId="ADAL" clId="{7BA84AA0-DF91-44A9-A18C-3379702B0E32}" dt="2023-08-17T11:21:29.467" v="4981" actId="20577"/>
          <ac:spMkLst>
            <pc:docMk/>
            <pc:sldMk cId="2357494347" sldId="2147479609"/>
            <ac:spMk id="4" creationId="{70C4D692-2AC5-B669-D59D-1BF376FED6C7}"/>
          </ac:spMkLst>
        </pc:spChg>
      </pc:sldChg>
      <pc:sldChg chg="add 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307668893" sldId="2147479610"/>
        </pc:sldMkLst>
      </pc:sldChg>
      <pc:sldChg chg="addSp delSp modSp new add del mod">
        <pc:chgData name="Srivaths Swaminathan" userId="fab820a8-d04c-4fb7-bc62-495e227921e9" providerId="ADAL" clId="{7BA84AA0-DF91-44A9-A18C-3379702B0E32}" dt="2023-08-18T16:22:44.417" v="16608" actId="2696"/>
        <pc:sldMkLst>
          <pc:docMk/>
          <pc:sldMk cId="2679556425" sldId="2147479610"/>
        </pc:sldMkLst>
        <pc:spChg chg="mod">
          <ac:chgData name="Srivaths Swaminathan" userId="fab820a8-d04c-4fb7-bc62-495e227921e9" providerId="ADAL" clId="{7BA84AA0-DF91-44A9-A18C-3379702B0E32}" dt="2023-08-17T15:23:13.600" v="4993" actId="948"/>
          <ac:spMkLst>
            <pc:docMk/>
            <pc:sldMk cId="2679556425" sldId="2147479610"/>
            <ac:spMk id="2" creationId="{5C9ECBD6-E105-615C-1B9F-7892964B58F0}"/>
          </ac:spMkLst>
        </pc:spChg>
        <pc:spChg chg="del">
          <ac:chgData name="Srivaths Swaminathan" userId="fab820a8-d04c-4fb7-bc62-495e227921e9" providerId="ADAL" clId="{7BA84AA0-DF91-44A9-A18C-3379702B0E32}" dt="2023-08-17T15:44:36.556" v="6404" actId="478"/>
          <ac:spMkLst>
            <pc:docMk/>
            <pc:sldMk cId="2679556425" sldId="2147479610"/>
            <ac:spMk id="3" creationId="{0C695814-6DB5-7BE3-CD1C-C084CC758993}"/>
          </ac:spMkLst>
        </pc:spChg>
        <pc:spChg chg="mod">
          <ac:chgData name="Srivaths Swaminathan" userId="fab820a8-d04c-4fb7-bc62-495e227921e9" providerId="ADAL" clId="{7BA84AA0-DF91-44A9-A18C-3379702B0E32}" dt="2023-08-17T18:18:18.462" v="10745" actId="20577"/>
          <ac:spMkLst>
            <pc:docMk/>
            <pc:sldMk cId="2679556425" sldId="2147479610"/>
            <ac:spMk id="4" creationId="{BB71F011-B55F-3900-BD96-74EDAADF164C}"/>
          </ac:spMkLst>
        </pc:spChg>
        <pc:graphicFrameChg chg="add mod ord modVis replST">
          <ac:chgData name="Srivaths Swaminathan" userId="fab820a8-d04c-4fb7-bc62-495e227921e9" providerId="ADAL" clId="{7BA84AA0-DF91-44A9-A18C-3379702B0E32}" dt="2023-08-18T16:22:39.967" v="16607"/>
          <ac:graphicFrameMkLst>
            <pc:docMk/>
            <pc:sldMk cId="2679556425" sldId="2147479610"/>
            <ac:graphicFrameMk id="5" creationId="{58E1066A-AA16-0E9E-8199-D827F33354BE}"/>
          </ac:graphicFrameMkLst>
        </pc:graphicFrameChg>
      </pc:sldChg>
      <pc:sldChg chg="add del setBg">
        <pc:chgData name="Srivaths Swaminathan" userId="fab820a8-d04c-4fb7-bc62-495e227921e9" providerId="ADAL" clId="{7BA84AA0-DF91-44A9-A18C-3379702B0E32}" dt="2023-08-17T16:34:05.434" v="7913" actId="47"/>
        <pc:sldMkLst>
          <pc:docMk/>
          <pc:sldMk cId="877659041" sldId="2147479611"/>
        </pc:sldMkLst>
      </pc:sldChg>
      <pc:sldChg chg="add 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3158948569" sldId="2147479611"/>
        </pc:sldMkLst>
      </pc:sldChg>
      <pc:sldChg chg="addSp delSp modSp new add del mod">
        <pc:chgData name="Srivaths Swaminathan" userId="fab820a8-d04c-4fb7-bc62-495e227921e9" providerId="ADAL" clId="{7BA84AA0-DF91-44A9-A18C-3379702B0E32}" dt="2023-08-17T17:59:58.313" v="9884" actId="47"/>
        <pc:sldMkLst>
          <pc:docMk/>
          <pc:sldMk cId="530260733" sldId="2147479612"/>
        </pc:sldMkLst>
        <pc:spChg chg="mod">
          <ac:chgData name="Srivaths Swaminathan" userId="fab820a8-d04c-4fb7-bc62-495e227921e9" providerId="ADAL" clId="{7BA84AA0-DF91-44A9-A18C-3379702B0E32}" dt="2023-08-17T17:52:41.312" v="9752" actId="948"/>
          <ac:spMkLst>
            <pc:docMk/>
            <pc:sldMk cId="530260733" sldId="2147479612"/>
            <ac:spMk id="2" creationId="{6B7AC342-B3F5-1938-9E5E-7FB6FD299259}"/>
          </ac:spMkLst>
        </pc:spChg>
        <pc:spChg chg="del">
          <ac:chgData name="Srivaths Swaminathan" userId="fab820a8-d04c-4fb7-bc62-495e227921e9" providerId="ADAL" clId="{7BA84AA0-DF91-44A9-A18C-3379702B0E32}" dt="2023-08-17T17:45:23.555" v="9649" actId="478"/>
          <ac:spMkLst>
            <pc:docMk/>
            <pc:sldMk cId="530260733" sldId="2147479612"/>
            <ac:spMk id="3" creationId="{439B13C2-C8A8-932F-59FF-4574B8AE1FA2}"/>
          </ac:spMkLst>
        </pc:spChg>
        <pc:spChg chg="del">
          <ac:chgData name="Srivaths Swaminathan" userId="fab820a8-d04c-4fb7-bc62-495e227921e9" providerId="ADAL" clId="{7BA84AA0-DF91-44A9-A18C-3379702B0E32}" dt="2023-08-17T17:23:43.905" v="9298" actId="478"/>
          <ac:spMkLst>
            <pc:docMk/>
            <pc:sldMk cId="530260733" sldId="2147479612"/>
            <ac:spMk id="4" creationId="{12462D37-7EA5-6CB4-24C7-352F598AD777}"/>
          </ac:spMkLst>
        </pc:spChg>
        <pc:spChg chg="add del mod modVis">
          <ac:chgData name="Srivaths Swaminathan" userId="fab820a8-d04c-4fb7-bc62-495e227921e9" providerId="ADAL" clId="{7BA84AA0-DF91-44A9-A18C-3379702B0E32}" dt="2023-08-17T17:23:41.285" v="9295"/>
          <ac:spMkLst>
            <pc:docMk/>
            <pc:sldMk cId="530260733" sldId="2147479612"/>
            <ac:spMk id="6" creationId="{459C81E7-331F-E0EC-2ECF-F1EE73CF8CFB}"/>
          </ac:spMkLst>
        </pc:spChg>
        <pc:spChg chg="add del mod">
          <ac:chgData name="Srivaths Swaminathan" userId="fab820a8-d04c-4fb7-bc62-495e227921e9" providerId="ADAL" clId="{7BA84AA0-DF91-44A9-A18C-3379702B0E32}" dt="2023-08-17T17:32:25.867" v="9306" actId="478"/>
          <ac:spMkLst>
            <pc:docMk/>
            <pc:sldMk cId="530260733" sldId="2147479612"/>
            <ac:spMk id="8" creationId="{B43DEF4C-3948-162D-E25C-C4EB96F04ADF}"/>
          </ac:spMkLst>
        </pc:spChg>
        <pc:spChg chg="add mod">
          <ac:chgData name="Srivaths Swaminathan" userId="fab820a8-d04c-4fb7-bc62-495e227921e9" providerId="ADAL" clId="{7BA84AA0-DF91-44A9-A18C-3379702B0E32}" dt="2023-08-17T17:48:25.639" v="9690" actId="1076"/>
          <ac:spMkLst>
            <pc:docMk/>
            <pc:sldMk cId="530260733" sldId="2147479612"/>
            <ac:spMk id="10" creationId="{B13ABA07-0CBB-5191-6CB0-B9D0FD546E4A}"/>
          </ac:spMkLst>
        </pc:spChg>
        <pc:spChg chg="add mod">
          <ac:chgData name="Srivaths Swaminathan" userId="fab820a8-d04c-4fb7-bc62-495e227921e9" providerId="ADAL" clId="{7BA84AA0-DF91-44A9-A18C-3379702B0E32}" dt="2023-08-17T17:48:36.299" v="9691" actId="1076"/>
          <ac:spMkLst>
            <pc:docMk/>
            <pc:sldMk cId="530260733" sldId="2147479612"/>
            <ac:spMk id="11" creationId="{D144BC27-B692-AD4F-A44A-05F63716E5BC}"/>
          </ac:spMkLst>
        </pc:spChg>
        <pc:spChg chg="add mod">
          <ac:chgData name="Srivaths Swaminathan" userId="fab820a8-d04c-4fb7-bc62-495e227921e9" providerId="ADAL" clId="{7BA84AA0-DF91-44A9-A18C-3379702B0E32}" dt="2023-08-17T17:46:48.226" v="9670" actId="1076"/>
          <ac:spMkLst>
            <pc:docMk/>
            <pc:sldMk cId="530260733" sldId="2147479612"/>
            <ac:spMk id="12" creationId="{33CE9B4D-D0D8-FDA8-F0F5-D11C6DB7D4E1}"/>
          </ac:spMkLst>
        </pc:spChg>
        <pc:spChg chg="add mod">
          <ac:chgData name="Srivaths Swaminathan" userId="fab820a8-d04c-4fb7-bc62-495e227921e9" providerId="ADAL" clId="{7BA84AA0-DF91-44A9-A18C-3379702B0E32}" dt="2023-08-17T17:46:48.226" v="9670" actId="1076"/>
          <ac:spMkLst>
            <pc:docMk/>
            <pc:sldMk cId="530260733" sldId="2147479612"/>
            <ac:spMk id="13" creationId="{B04BA5D3-3DC3-980A-F3BD-3C00A1ABD408}"/>
          </ac:spMkLst>
        </pc:spChg>
        <pc:spChg chg="add mod">
          <ac:chgData name="Srivaths Swaminathan" userId="fab820a8-d04c-4fb7-bc62-495e227921e9" providerId="ADAL" clId="{7BA84AA0-DF91-44A9-A18C-3379702B0E32}" dt="2023-08-17T17:49:07.296" v="9708" actId="1076"/>
          <ac:spMkLst>
            <pc:docMk/>
            <pc:sldMk cId="530260733" sldId="2147479612"/>
            <ac:spMk id="14" creationId="{07952376-9D0C-20DB-E065-3B901A0D7B5A}"/>
          </ac:spMkLst>
        </pc:spChg>
        <pc:spChg chg="add mod">
          <ac:chgData name="Srivaths Swaminathan" userId="fab820a8-d04c-4fb7-bc62-495e227921e9" providerId="ADAL" clId="{7BA84AA0-DF91-44A9-A18C-3379702B0E32}" dt="2023-08-17T17:51:20.397" v="9720"/>
          <ac:spMkLst>
            <pc:docMk/>
            <pc:sldMk cId="530260733" sldId="2147479612"/>
            <ac:spMk id="16" creationId="{BCBA9E65-CB42-1263-05DD-62F367F11079}"/>
          </ac:spMkLst>
        </pc:spChg>
        <pc:spChg chg="add mod">
          <ac:chgData name="Srivaths Swaminathan" userId="fab820a8-d04c-4fb7-bc62-495e227921e9" providerId="ADAL" clId="{7BA84AA0-DF91-44A9-A18C-3379702B0E32}" dt="2023-08-17T17:51:20.397" v="9720"/>
          <ac:spMkLst>
            <pc:docMk/>
            <pc:sldMk cId="530260733" sldId="2147479612"/>
            <ac:spMk id="17" creationId="{E1C7C89A-6F4C-D5B4-7604-3E0864DAEB66}"/>
          </ac:spMkLst>
        </pc:spChg>
        <pc:grpChg chg="add mod">
          <ac:chgData name="Srivaths Swaminathan" userId="fab820a8-d04c-4fb7-bc62-495e227921e9" providerId="ADAL" clId="{7BA84AA0-DF91-44A9-A18C-3379702B0E32}" dt="2023-08-17T17:51:20.397" v="9720"/>
          <ac:grpSpMkLst>
            <pc:docMk/>
            <pc:sldMk cId="530260733" sldId="2147479612"/>
            <ac:grpSpMk id="15" creationId="{E35C4C89-0664-E18D-F823-073D506D5855}"/>
          </ac:grpSpMkLst>
        </pc:grpChg>
        <pc:graphicFrameChg chg="add mod ord modVis replST">
          <ac:chgData name="Srivaths Swaminathan" userId="fab820a8-d04c-4fb7-bc62-495e227921e9" providerId="ADAL" clId="{7BA84AA0-DF91-44A9-A18C-3379702B0E32}" dt="2023-08-17T17:52:41.331" v="9756"/>
          <ac:graphicFrameMkLst>
            <pc:docMk/>
            <pc:sldMk cId="530260733" sldId="2147479612"/>
            <ac:graphicFrameMk id="5" creationId="{6526DD9A-9991-83B4-0A56-F05CF2997270}"/>
          </ac:graphicFrameMkLst>
        </pc:graphicFrameChg>
        <pc:graphicFrameChg chg="add mod modGraphic">
          <ac:chgData name="Srivaths Swaminathan" userId="fab820a8-d04c-4fb7-bc62-495e227921e9" providerId="ADAL" clId="{7BA84AA0-DF91-44A9-A18C-3379702B0E32}" dt="2023-08-17T17:51:11.547" v="9718"/>
          <ac:graphicFrameMkLst>
            <pc:docMk/>
            <pc:sldMk cId="530260733" sldId="2147479612"/>
            <ac:graphicFrameMk id="7" creationId="{4446BD39-851E-1EDE-1AD6-184C0A06D368}"/>
          </ac:graphicFrameMkLst>
        </pc:graphicFrameChg>
        <pc:graphicFrameChg chg="add mod">
          <ac:chgData name="Srivaths Swaminathan" userId="fab820a8-d04c-4fb7-bc62-495e227921e9" providerId="ADAL" clId="{7BA84AA0-DF91-44A9-A18C-3379702B0E32}" dt="2023-08-17T17:49:17.349" v="9711" actId="14100"/>
          <ac:graphicFrameMkLst>
            <pc:docMk/>
            <pc:sldMk cId="530260733" sldId="2147479612"/>
            <ac:graphicFrameMk id="9" creationId="{09E45EA1-B2B4-91DD-D5E9-8CA01A9E5B1E}"/>
          </ac:graphicFrameMkLst>
        </pc:graphicFrameChg>
      </pc:sldChg>
      <pc:sldChg chg="addSp delSp modSp new add mod delCm modCm">
        <pc:chgData name="Srivaths Swaminathan" userId="fab820a8-d04c-4fb7-bc62-495e227921e9" providerId="ADAL" clId="{7BA84AA0-DF91-44A9-A18C-3379702B0E32}" dt="2023-08-24T10:32:35.249" v="26304" actId="20577"/>
        <pc:sldMkLst>
          <pc:docMk/>
          <pc:sldMk cId="3738489707" sldId="2147479613"/>
        </pc:sldMkLst>
        <pc:spChg chg="mod">
          <ac:chgData name="Srivaths Swaminathan" userId="fab820a8-d04c-4fb7-bc62-495e227921e9" providerId="ADAL" clId="{7BA84AA0-DF91-44A9-A18C-3379702B0E32}" dt="2023-08-17T18:12:33.529" v="10171" actId="948"/>
          <ac:spMkLst>
            <pc:docMk/>
            <pc:sldMk cId="3738489707" sldId="2147479613"/>
            <ac:spMk id="2" creationId="{5D4F1624-A0F4-36CC-6333-08148A0641A8}"/>
          </ac:spMkLst>
        </pc:spChg>
        <pc:spChg chg="add mod">
          <ac:chgData name="Srivaths Swaminathan" userId="fab820a8-d04c-4fb7-bc62-495e227921e9" providerId="ADAL" clId="{7BA84AA0-DF91-44A9-A18C-3379702B0E32}" dt="2023-08-23T11:28:12.974" v="21979" actId="1076"/>
          <ac:spMkLst>
            <pc:docMk/>
            <pc:sldMk cId="3738489707" sldId="2147479613"/>
            <ac:spMk id="2" creationId="{D98D80AA-65A6-047C-E185-742724C6CEFE}"/>
          </ac:spMkLst>
        </pc:spChg>
        <pc:spChg chg="del">
          <ac:chgData name="Srivaths Swaminathan" userId="fab820a8-d04c-4fb7-bc62-495e227921e9" providerId="ADAL" clId="{7BA84AA0-DF91-44A9-A18C-3379702B0E32}" dt="2023-08-17T17:51:57.981" v="9726" actId="478"/>
          <ac:spMkLst>
            <pc:docMk/>
            <pc:sldMk cId="3738489707" sldId="2147479613"/>
            <ac:spMk id="3" creationId="{4E18C89F-C31F-A320-C9A7-0A39F90701FA}"/>
          </ac:spMkLst>
        </pc:spChg>
        <pc:spChg chg="add mod">
          <ac:chgData name="Srivaths Swaminathan" userId="fab820a8-d04c-4fb7-bc62-495e227921e9" providerId="ADAL" clId="{7BA84AA0-DF91-44A9-A18C-3379702B0E32}" dt="2023-08-24T10:30:51.379" v="26274" actId="1076"/>
          <ac:spMkLst>
            <pc:docMk/>
            <pc:sldMk cId="3738489707" sldId="2147479613"/>
            <ac:spMk id="3" creationId="{A4C10CB4-FF55-AAA8-AAEB-44A5B5072F4E}"/>
          </ac:spMkLst>
        </pc:spChg>
        <pc:spChg chg="del">
          <ac:chgData name="Srivaths Swaminathan" userId="fab820a8-d04c-4fb7-bc62-495e227921e9" providerId="ADAL" clId="{7BA84AA0-DF91-44A9-A18C-3379702B0E32}" dt="2023-08-17T17:51:55.430" v="9725" actId="478"/>
          <ac:spMkLst>
            <pc:docMk/>
            <pc:sldMk cId="3738489707" sldId="2147479613"/>
            <ac:spMk id="4" creationId="{A5058332-063C-EAD7-153C-4EA0441554D1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12" creationId="{D9FCF73C-D447-FFEC-CE50-274DA7AC9F54}"/>
          </ac:spMkLst>
        </pc:spChg>
        <pc:spChg chg="add mod">
          <ac:chgData name="Srivaths Swaminathan" userId="fab820a8-d04c-4fb7-bc62-495e227921e9" providerId="ADAL" clId="{7BA84AA0-DF91-44A9-A18C-3379702B0E32}" dt="2023-08-23T11:40:02.742" v="22293" actId="20577"/>
          <ac:spMkLst>
            <pc:docMk/>
            <pc:sldMk cId="3738489707" sldId="2147479613"/>
            <ac:spMk id="13" creationId="{A6151299-5706-52B6-A6CC-1FC53530E3FB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14" creationId="{E2A0E9AB-C291-4651-8661-90A9968CB60A}"/>
          </ac:spMkLst>
        </pc:spChg>
        <pc:spChg chg="add mod">
          <ac:chgData name="Srivaths Swaminathan" userId="fab820a8-d04c-4fb7-bc62-495e227921e9" providerId="ADAL" clId="{7BA84AA0-DF91-44A9-A18C-3379702B0E32}" dt="2023-08-23T11:39:36.511" v="22266"/>
          <ac:spMkLst>
            <pc:docMk/>
            <pc:sldMk cId="3738489707" sldId="2147479613"/>
            <ac:spMk id="15" creationId="{607CE684-3270-AE0C-BA2E-9A4FA361C4AE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16" creationId="{DAA1FED2-58F8-218D-8695-175FB7151C2E}"/>
          </ac:spMkLst>
        </pc:spChg>
        <pc:spChg chg="add mod">
          <ac:chgData name="Srivaths Swaminathan" userId="fab820a8-d04c-4fb7-bc62-495e227921e9" providerId="ADAL" clId="{7BA84AA0-DF91-44A9-A18C-3379702B0E32}" dt="2023-08-23T11:39:25.732" v="22265"/>
          <ac:spMkLst>
            <pc:docMk/>
            <pc:sldMk cId="3738489707" sldId="2147479613"/>
            <ac:spMk id="17" creationId="{71F8C894-D21B-3A4E-F93F-443CEFC06E38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18" creationId="{4E439F47-0650-FB87-DA09-C7BBED079545}"/>
          </ac:spMkLst>
        </pc:spChg>
        <pc:spChg chg="add mod">
          <ac:chgData name="Srivaths Swaminathan" userId="fab820a8-d04c-4fb7-bc62-495e227921e9" providerId="ADAL" clId="{7BA84AA0-DF91-44A9-A18C-3379702B0E32}" dt="2023-08-23T11:39:19.474" v="22264" actId="20577"/>
          <ac:spMkLst>
            <pc:docMk/>
            <pc:sldMk cId="3738489707" sldId="2147479613"/>
            <ac:spMk id="19" creationId="{9B382363-4A5C-1FC7-5BCD-CA6467F70619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20" creationId="{26326065-6D61-17D7-6C2F-288D609002D9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21" creationId="{42BAE55D-558C-D04D-56CE-EDDACE71CFFE}"/>
          </ac:spMkLst>
        </pc:spChg>
        <pc:spChg chg="add mod">
          <ac:chgData name="Srivaths Swaminathan" userId="fab820a8-d04c-4fb7-bc62-495e227921e9" providerId="ADAL" clId="{7BA84AA0-DF91-44A9-A18C-3379702B0E32}" dt="2023-08-23T11:23:21.049" v="21636" actId="207"/>
          <ac:spMkLst>
            <pc:docMk/>
            <pc:sldMk cId="3738489707" sldId="2147479613"/>
            <ac:spMk id="22" creationId="{28BD8BBA-21B1-99A4-5162-2E6421E8A8D3}"/>
          </ac:spMkLst>
        </pc:spChg>
        <pc:spChg chg="add mod">
          <ac:chgData name="Srivaths Swaminathan" userId="fab820a8-d04c-4fb7-bc62-495e227921e9" providerId="ADAL" clId="{7BA84AA0-DF91-44A9-A18C-3379702B0E32}" dt="2023-08-23T11:28:28.400" v="21982" actId="20577"/>
          <ac:spMkLst>
            <pc:docMk/>
            <pc:sldMk cId="3738489707" sldId="2147479613"/>
            <ac:spMk id="23" creationId="{E5CD3BF8-F7DB-F532-1F4B-1C633F73D1EB}"/>
          </ac:spMkLst>
        </pc:spChg>
        <pc:spChg chg="add mod">
          <ac:chgData name="Srivaths Swaminathan" userId="fab820a8-d04c-4fb7-bc62-495e227921e9" providerId="ADAL" clId="{7BA84AA0-DF91-44A9-A18C-3379702B0E32}" dt="2023-08-24T10:32:03.283" v="26282" actId="20578"/>
          <ac:spMkLst>
            <pc:docMk/>
            <pc:sldMk cId="3738489707" sldId="2147479613"/>
            <ac:spMk id="24" creationId="{590A26ED-A796-AD48-5173-A666B9EEE685}"/>
          </ac:spMkLst>
        </pc:spChg>
        <pc:spChg chg="add mod">
          <ac:chgData name="Srivaths Swaminathan" userId="fab820a8-d04c-4fb7-bc62-495e227921e9" providerId="ADAL" clId="{7BA84AA0-DF91-44A9-A18C-3379702B0E32}" dt="2023-08-24T10:32:35.249" v="26304" actId="20577"/>
          <ac:spMkLst>
            <pc:docMk/>
            <pc:sldMk cId="3738489707" sldId="2147479613"/>
            <ac:spMk id="25" creationId="{0FF93578-4D02-1741-DA0C-39470E5F8357}"/>
          </ac:spMkLst>
        </pc:spChg>
        <pc:spChg chg="add del mod">
          <ac:chgData name="Srivaths Swaminathan" userId="fab820a8-d04c-4fb7-bc62-495e227921e9" providerId="ADAL" clId="{7BA84AA0-DF91-44A9-A18C-3379702B0E32}" dt="2023-08-18T14:26:17.354" v="13406" actId="478"/>
          <ac:spMkLst>
            <pc:docMk/>
            <pc:sldMk cId="3738489707" sldId="2147479613"/>
            <ac:spMk id="27" creationId="{8AF42D3B-B3FC-BF46-4886-57D137FB3635}"/>
          </ac:spMkLst>
        </pc:spChg>
        <pc:spChg chg="add del mod">
          <ac:chgData name="Srivaths Swaminathan" userId="fab820a8-d04c-4fb7-bc62-495e227921e9" providerId="ADAL" clId="{7BA84AA0-DF91-44A9-A18C-3379702B0E32}" dt="2023-08-18T14:26:17.354" v="13406" actId="478"/>
          <ac:spMkLst>
            <pc:docMk/>
            <pc:sldMk cId="3738489707" sldId="2147479613"/>
            <ac:spMk id="28" creationId="{CE967DE1-AA2C-2766-6D70-F8D316F70382}"/>
          </ac:spMkLst>
        </pc:spChg>
        <pc:spChg chg="add del mod">
          <ac:chgData name="Srivaths Swaminathan" userId="fab820a8-d04c-4fb7-bc62-495e227921e9" providerId="ADAL" clId="{7BA84AA0-DF91-44A9-A18C-3379702B0E32}" dt="2023-08-18T14:26:17.354" v="13406" actId="478"/>
          <ac:spMkLst>
            <pc:docMk/>
            <pc:sldMk cId="3738489707" sldId="2147479613"/>
            <ac:spMk id="29" creationId="{0513D797-7B18-4806-0F4E-07EA40F35A46}"/>
          </ac:spMkLst>
        </pc:spChg>
        <pc:spChg chg="add del mod">
          <ac:chgData name="Srivaths Swaminathan" userId="fab820a8-d04c-4fb7-bc62-495e227921e9" providerId="ADAL" clId="{7BA84AA0-DF91-44A9-A18C-3379702B0E32}" dt="2023-08-18T14:26:17.354" v="13406" actId="478"/>
          <ac:spMkLst>
            <pc:docMk/>
            <pc:sldMk cId="3738489707" sldId="2147479613"/>
            <ac:spMk id="30" creationId="{D5449055-9152-2E3F-EE76-92CFF6726E32}"/>
          </ac:spMkLst>
        </pc:spChg>
        <pc:spChg chg="add del mod ord">
          <ac:chgData name="Srivaths Swaminathan" userId="fab820a8-d04c-4fb7-bc62-495e227921e9" providerId="ADAL" clId="{7BA84AA0-DF91-44A9-A18C-3379702B0E32}" dt="2023-08-23T11:02:10.478" v="20969" actId="478"/>
          <ac:spMkLst>
            <pc:docMk/>
            <pc:sldMk cId="3738489707" sldId="2147479613"/>
            <ac:spMk id="31" creationId="{3BE94753-A111-9D31-0BE5-C1DFA572821C}"/>
          </ac:spMkLst>
        </pc:spChg>
        <pc:spChg chg="add mod">
          <ac:chgData name="Srivaths Swaminathan" userId="fab820a8-d04c-4fb7-bc62-495e227921e9" providerId="ADAL" clId="{7BA84AA0-DF91-44A9-A18C-3379702B0E32}" dt="2023-08-18T14:26:21.565" v="13408"/>
          <ac:spMkLst>
            <pc:docMk/>
            <pc:sldMk cId="3738489707" sldId="2147479613"/>
            <ac:spMk id="32" creationId="{991D7AA8-3111-4795-B686-8946EF1EB0E1}"/>
          </ac:spMkLst>
        </pc:spChg>
        <pc:spChg chg="add del mod modVis">
          <ac:chgData name="Srivaths Swaminathan" userId="fab820a8-d04c-4fb7-bc62-495e227921e9" providerId="ADAL" clId="{7BA84AA0-DF91-44A9-A18C-3379702B0E32}" dt="2023-08-17T17:59:38.556" v="9790"/>
          <ac:spMkLst>
            <pc:docMk/>
            <pc:sldMk cId="3738489707" sldId="2147479613"/>
            <ac:spMk id="32" creationId="{EDBB51BE-C91B-7EC4-6DB5-7E3B494EBC14}"/>
          </ac:spMkLst>
        </pc:spChg>
        <pc:spChg chg="add mod">
          <ac:chgData name="Srivaths Swaminathan" userId="fab820a8-d04c-4fb7-bc62-495e227921e9" providerId="ADAL" clId="{7BA84AA0-DF91-44A9-A18C-3379702B0E32}" dt="2023-08-18T14:26:21.565" v="13408"/>
          <ac:spMkLst>
            <pc:docMk/>
            <pc:sldMk cId="3738489707" sldId="2147479613"/>
            <ac:spMk id="34" creationId="{38307E1B-FA84-F444-4BE1-FF054E5AF533}"/>
          </ac:spMkLst>
        </pc:spChg>
        <pc:spChg chg="add del mod modVis">
          <ac:chgData name="Srivaths Swaminathan" userId="fab820a8-d04c-4fb7-bc62-495e227921e9" providerId="ADAL" clId="{7BA84AA0-DF91-44A9-A18C-3379702B0E32}" dt="2023-08-17T17:59:39.818" v="9834"/>
          <ac:spMkLst>
            <pc:docMk/>
            <pc:sldMk cId="3738489707" sldId="2147479613"/>
            <ac:spMk id="34" creationId="{51268887-EA57-3C24-7269-511D35AA157D}"/>
          </ac:spMkLst>
        </pc:spChg>
        <pc:spChg chg="add del mod modVis">
          <ac:chgData name="Srivaths Swaminathan" userId="fab820a8-d04c-4fb7-bc62-495e227921e9" providerId="ADAL" clId="{7BA84AA0-DF91-44A9-A18C-3379702B0E32}" dt="2023-08-17T17:59:42.268" v="9875"/>
          <ac:spMkLst>
            <pc:docMk/>
            <pc:sldMk cId="3738489707" sldId="2147479613"/>
            <ac:spMk id="35" creationId="{08EAD3C3-6741-4DF2-136B-61160FE4D77C}"/>
          </ac:spMkLst>
        </pc:spChg>
        <pc:spChg chg="add mod">
          <ac:chgData name="Srivaths Swaminathan" userId="fab820a8-d04c-4fb7-bc62-495e227921e9" providerId="ADAL" clId="{7BA84AA0-DF91-44A9-A18C-3379702B0E32}" dt="2023-08-17T18:01:55.431" v="10001" actId="1076"/>
          <ac:spMkLst>
            <pc:docMk/>
            <pc:sldMk cId="3738489707" sldId="2147479613"/>
            <ac:spMk id="36" creationId="{AABB7D45-BD13-81DA-334C-8EE4EE5D69D6}"/>
          </ac:spMkLst>
        </pc:spChg>
        <pc:spChg chg="add del mod ord">
          <ac:chgData name="Srivaths Swaminathan" userId="fab820a8-d04c-4fb7-bc62-495e227921e9" providerId="ADAL" clId="{7BA84AA0-DF91-44A9-A18C-3379702B0E32}" dt="2023-08-23T11:02:03.688" v="20968" actId="478"/>
          <ac:spMkLst>
            <pc:docMk/>
            <pc:sldMk cId="3738489707" sldId="2147479613"/>
            <ac:spMk id="37" creationId="{842E1871-4ADA-8587-5F82-818D9E6A71A7}"/>
          </ac:spMkLst>
        </pc:spChg>
        <pc:spChg chg="add del mod modVis">
          <ac:chgData name="Srivaths Swaminathan" userId="fab820a8-d04c-4fb7-bc62-495e227921e9" providerId="ADAL" clId="{7BA84AA0-DF91-44A9-A18C-3379702B0E32}" dt="2023-08-17T18:12:33.579" v="10195"/>
          <ac:spMkLst>
            <pc:docMk/>
            <pc:sldMk cId="3738489707" sldId="2147479613"/>
            <ac:spMk id="38" creationId="{49FA5767-7AC2-9224-ADED-24BF330BC6D9}"/>
          </ac:spMkLst>
        </pc:spChg>
        <pc:spChg chg="del">
          <ac:chgData name="Srivaths Swaminathan" userId="fab820a8-d04c-4fb7-bc62-495e227921e9" providerId="ADAL" clId="{7BA84AA0-DF91-44A9-A18C-3379702B0E32}" dt="2023-08-18T14:27:08.843" v="13411" actId="478"/>
          <ac:spMkLst>
            <pc:docMk/>
            <pc:sldMk cId="3738489707" sldId="2147479613"/>
            <ac:spMk id="38" creationId="{9FDBBF59-AA98-D0DD-BBD2-D0CEC8B03E91}"/>
          </ac:spMkLst>
        </pc:spChg>
        <pc:spChg chg="add del mod ord">
          <ac:chgData name="Srivaths Swaminathan" userId="fab820a8-d04c-4fb7-bc62-495e227921e9" providerId="ADAL" clId="{7BA84AA0-DF91-44A9-A18C-3379702B0E32}" dt="2023-08-23T10:59:45.822" v="20953" actId="478"/>
          <ac:spMkLst>
            <pc:docMk/>
            <pc:sldMk cId="3738489707" sldId="2147479613"/>
            <ac:spMk id="40" creationId="{AF68FAB1-A6E7-4361-D5C9-1C222F977D68}"/>
          </ac:spMkLst>
        </pc:spChg>
        <pc:spChg chg="add del mod">
          <ac:chgData name="Srivaths Swaminathan" userId="fab820a8-d04c-4fb7-bc62-495e227921e9" providerId="ADAL" clId="{7BA84AA0-DF91-44A9-A18C-3379702B0E32}" dt="2023-08-23T10:59:45.822" v="20953" actId="478"/>
          <ac:spMkLst>
            <pc:docMk/>
            <pc:sldMk cId="3738489707" sldId="2147479613"/>
            <ac:spMk id="41" creationId="{B999F815-4512-5E66-15B3-4169F9A27151}"/>
          </ac:spMkLst>
        </pc:spChg>
        <pc:spChg chg="add del mod">
          <ac:chgData name="Srivaths Swaminathan" userId="fab820a8-d04c-4fb7-bc62-495e227921e9" providerId="ADAL" clId="{7BA84AA0-DF91-44A9-A18C-3379702B0E32}" dt="2023-08-23T10:59:45.822" v="20953" actId="478"/>
          <ac:spMkLst>
            <pc:docMk/>
            <pc:sldMk cId="3738489707" sldId="2147479613"/>
            <ac:spMk id="42" creationId="{D8224FC9-9869-C884-40A8-2D3940AB6223}"/>
          </ac:spMkLst>
        </pc:spChg>
        <pc:spChg chg="add del mod">
          <ac:chgData name="Srivaths Swaminathan" userId="fab820a8-d04c-4fb7-bc62-495e227921e9" providerId="ADAL" clId="{7BA84AA0-DF91-44A9-A18C-3379702B0E32}" dt="2023-08-23T10:59:45.822" v="20953" actId="478"/>
          <ac:spMkLst>
            <pc:docMk/>
            <pc:sldMk cId="3738489707" sldId="2147479613"/>
            <ac:spMk id="43" creationId="{04CA4254-8842-69E6-D042-3AB80B2C2F80}"/>
          </ac:spMkLst>
        </pc:spChg>
        <pc:spChg chg="del">
          <ac:chgData name="Srivaths Swaminathan" userId="fab820a8-d04c-4fb7-bc62-495e227921e9" providerId="ADAL" clId="{7BA84AA0-DF91-44A9-A18C-3379702B0E32}" dt="2023-08-18T14:26:59.428" v="13410" actId="478"/>
          <ac:spMkLst>
            <pc:docMk/>
            <pc:sldMk cId="3738489707" sldId="2147479613"/>
            <ac:spMk id="44" creationId="{5DC3BC66-7EBB-D6C4-3FB6-194BA05E46BA}"/>
          </ac:spMkLst>
        </pc:spChg>
        <pc:spChg chg="mod ord">
          <ac:chgData name="Srivaths Swaminathan" userId="fab820a8-d04c-4fb7-bc62-495e227921e9" providerId="ADAL" clId="{7BA84AA0-DF91-44A9-A18C-3379702B0E32}" dt="2023-08-23T11:22:49.308" v="21635" actId="20577"/>
          <ac:spMkLst>
            <pc:docMk/>
            <pc:sldMk cId="3738489707" sldId="2147479613"/>
            <ac:spMk id="46" creationId="{0F23834F-C1EF-BA93-D560-8677F3F48141}"/>
          </ac:spMkLst>
        </pc:spChg>
        <pc:spChg chg="del">
          <ac:chgData name="Srivaths Swaminathan" userId="fab820a8-d04c-4fb7-bc62-495e227921e9" providerId="ADAL" clId="{7BA84AA0-DF91-44A9-A18C-3379702B0E32}" dt="2023-08-18T14:27:37.846" v="13412" actId="478"/>
          <ac:spMkLst>
            <pc:docMk/>
            <pc:sldMk cId="3738489707" sldId="2147479613"/>
            <ac:spMk id="48" creationId="{F405F188-6285-62DA-57A1-0CC695F2618F}"/>
          </ac:spMkLst>
        </pc:spChg>
        <pc:grpChg chg="add mod">
          <ac:chgData name="Srivaths Swaminathan" userId="fab820a8-d04c-4fb7-bc62-495e227921e9" providerId="ADAL" clId="{7BA84AA0-DF91-44A9-A18C-3379702B0E32}" dt="2023-08-18T14:26:21.565" v="13408"/>
          <ac:grpSpMkLst>
            <pc:docMk/>
            <pc:sldMk cId="3738489707" sldId="2147479613"/>
            <ac:grpSpMk id="3" creationId="{78C9C0B8-8820-F379-712C-83B172B136A9}"/>
          </ac:grpSpMkLst>
        </pc:grpChg>
        <pc:grpChg chg="add mod">
          <ac:chgData name="Srivaths Swaminathan" userId="fab820a8-d04c-4fb7-bc62-495e227921e9" providerId="ADAL" clId="{7BA84AA0-DF91-44A9-A18C-3379702B0E32}" dt="2023-08-18T14:26:21.565" v="13408"/>
          <ac:grpSpMkLst>
            <pc:docMk/>
            <pc:sldMk cId="3738489707" sldId="2147479613"/>
            <ac:grpSpMk id="4" creationId="{8243F259-7E9D-5FC2-FB16-FC253019F19B}"/>
          </ac:grpSpMkLst>
        </pc:grpChg>
        <pc:grpChg chg="add mod ord">
          <ac:chgData name="Srivaths Swaminathan" userId="fab820a8-d04c-4fb7-bc62-495e227921e9" providerId="ADAL" clId="{7BA84AA0-DF91-44A9-A18C-3379702B0E32}" dt="2023-08-23T11:02:22.185" v="21069" actId="1037"/>
          <ac:grpSpMkLst>
            <pc:docMk/>
            <pc:sldMk cId="3738489707" sldId="2147479613"/>
            <ac:grpSpMk id="5" creationId="{6334D6F6-96A7-F339-30EB-86592F3B0B8B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6" creationId="{763A28FE-2AE9-1FF0-E376-DF1BED9EC410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7" creationId="{E9E96D2B-FB64-A062-C8C4-0970AE01827F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8" creationId="{1EEC1139-17F6-FCF3-153F-7197A6FF9560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9" creationId="{CBB6FCDC-CC66-5619-198A-4E354855DC98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10" creationId="{A6BBC82C-49A1-D0E1-761E-3E34910F4089}"/>
          </ac:grpSpMkLst>
        </pc:grpChg>
        <pc:grpChg chg="add mod ord">
          <ac:chgData name="Srivaths Swaminathan" userId="fab820a8-d04c-4fb7-bc62-495e227921e9" providerId="ADAL" clId="{7BA84AA0-DF91-44A9-A18C-3379702B0E32}" dt="2023-08-23T11:23:21.049" v="21636" actId="207"/>
          <ac:grpSpMkLst>
            <pc:docMk/>
            <pc:sldMk cId="3738489707" sldId="2147479613"/>
            <ac:grpSpMk id="11" creationId="{939B97B1-4DD5-24D6-F13A-D6F4105EE765}"/>
          </ac:grpSpMkLst>
        </pc:grpChg>
        <pc:graphicFrameChg chg="add del mod modGraphic">
          <ac:chgData name="Srivaths Swaminathan" userId="fab820a8-d04c-4fb7-bc62-495e227921e9" providerId="ADAL" clId="{7BA84AA0-DF91-44A9-A18C-3379702B0E32}" dt="2023-08-23T11:01:55.670" v="20966" actId="478"/>
          <ac:graphicFrameMkLst>
            <pc:docMk/>
            <pc:sldMk cId="3738489707" sldId="2147479613"/>
            <ac:graphicFrameMk id="4" creationId="{3D513BEC-16DB-7978-0FB4-78267969B2D7}"/>
          </ac:graphicFrameMkLst>
        </pc:graphicFrameChg>
        <pc:graphicFrameChg chg="add del mod">
          <ac:chgData name="Srivaths Swaminathan" userId="fab820a8-d04c-4fb7-bc62-495e227921e9" providerId="ADAL" clId="{7BA84AA0-DF91-44A9-A18C-3379702B0E32}" dt="2023-08-18T14:26:06.431" v="13404" actId="478"/>
          <ac:graphicFrameMkLst>
            <pc:docMk/>
            <pc:sldMk cId="3738489707" sldId="2147479613"/>
            <ac:graphicFrameMk id="26" creationId="{57934A5A-5C35-66CB-D60C-9B97A7A1AC7B}"/>
          </ac:graphicFrameMkLst>
        </pc:graphicFrameChg>
        <pc:graphicFrameChg chg="add mod ord modVis replST">
          <ac:chgData name="Srivaths Swaminathan" userId="fab820a8-d04c-4fb7-bc62-495e227921e9" providerId="ADAL" clId="{7BA84AA0-DF91-44A9-A18C-3379702B0E32}" dt="2023-08-18T14:29:27.794" v="13480"/>
          <ac:graphicFrameMkLst>
            <pc:docMk/>
            <pc:sldMk cId="3738489707" sldId="2147479613"/>
            <ac:graphicFrameMk id="33" creationId="{0BC2B17D-F58E-9720-CE62-9A04EBC4E8F8}"/>
          </ac:graphicFrameMkLst>
        </pc:graphicFrameChg>
        <pc:graphicFrameChg chg="add del mod ord">
          <ac:chgData name="Srivaths Swaminathan" userId="fab820a8-d04c-4fb7-bc62-495e227921e9" providerId="ADAL" clId="{7BA84AA0-DF91-44A9-A18C-3379702B0E32}" dt="2023-08-23T10:59:41.700" v="20952" actId="478"/>
          <ac:graphicFrameMkLst>
            <pc:docMk/>
            <pc:sldMk cId="3738489707" sldId="2147479613"/>
            <ac:graphicFrameMk id="35" creationId="{D9D69686-F105-0AEF-375C-16206EC8AD35}"/>
          </ac:graphicFrameMkLst>
        </pc:graphicFrameChg>
        <pc:graphicFrameChg chg="add del mod">
          <ac:chgData name="Srivaths Swaminathan" userId="fab820a8-d04c-4fb7-bc62-495e227921e9" providerId="ADAL" clId="{7BA84AA0-DF91-44A9-A18C-3379702B0E32}" dt="2023-08-18T14:28:51.990" v="13445"/>
          <ac:graphicFrameMkLst>
            <pc:docMk/>
            <pc:sldMk cId="3738489707" sldId="2147479613"/>
            <ac:graphicFrameMk id="39" creationId="{5A6401DD-08C4-E54F-9043-56750AACFD98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6:11:51.141" v="23864"/>
              <pc2:cmMkLst xmlns:pc2="http://schemas.microsoft.com/office/powerpoint/2019/9/main/command">
                <pc:docMk/>
                <pc:sldMk cId="3738489707" sldId="2147479613"/>
                <pc2:cmMk id="{D203354D-FE45-419C-A25F-DF0A7071012E}"/>
              </pc2:cmMkLst>
            </pc226:cmChg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6:11:48.829" v="23863"/>
              <pc2:cmMkLst xmlns:pc2="http://schemas.microsoft.com/office/powerpoint/2019/9/main/command">
                <pc:docMk/>
                <pc:sldMk cId="3738489707" sldId="2147479613"/>
                <pc2:cmMk id="{1137B859-1000-4753-8CA3-EFE205928037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23T16:11:53.767" v="23865"/>
              <pc2:cmMkLst xmlns:pc2="http://schemas.microsoft.com/office/powerpoint/2019/9/main/command">
                <pc:docMk/>
                <pc:sldMk cId="3738489707" sldId="2147479613"/>
                <pc2:cmMk id="{D36DE3F3-DEF0-478F-9002-FFCC98CFCEB3}"/>
              </pc2:cmMkLst>
            </pc226:cmChg>
          </p:ext>
        </pc:extLst>
      </pc:sldChg>
      <pc:sldChg chg="addSp delSp modSp add del mod ord modCm">
        <pc:chgData name="Srivaths Swaminathan" userId="fab820a8-d04c-4fb7-bc62-495e227921e9" providerId="ADAL" clId="{7BA84AA0-DF91-44A9-A18C-3379702B0E32}" dt="2023-09-06T17:02:26.151" v="36913" actId="47"/>
        <pc:sldMkLst>
          <pc:docMk/>
          <pc:sldMk cId="1269469517" sldId="2147479614"/>
        </pc:sldMkLst>
        <pc:spChg chg="mod">
          <ac:chgData name="Srivaths Swaminathan" userId="fab820a8-d04c-4fb7-bc62-495e227921e9" providerId="ADAL" clId="{7BA84AA0-DF91-44A9-A18C-3379702B0E32}" dt="2023-08-21T08:26:14.609" v="18099" actId="948"/>
          <ac:spMkLst>
            <pc:docMk/>
            <pc:sldMk cId="1269469517" sldId="2147479614"/>
            <ac:spMk id="2" creationId="{5D4F1624-A0F4-36CC-6333-08148A0641A8}"/>
          </ac:spMkLst>
        </pc:spChg>
        <pc:spChg chg="add mod">
          <ac:chgData name="Srivaths Swaminathan" userId="fab820a8-d04c-4fb7-bc62-495e227921e9" providerId="ADAL" clId="{7BA84AA0-DF91-44A9-A18C-3379702B0E32}" dt="2023-08-21T08:17:57.809" v="17164" actId="20577"/>
          <ac:spMkLst>
            <pc:docMk/>
            <pc:sldMk cId="1269469517" sldId="2147479614"/>
            <ac:spMk id="3" creationId="{B7564C61-747E-ED72-71EA-969CB9D50E47}"/>
          </ac:spMkLst>
        </pc:spChg>
        <pc:spChg chg="add del mod modVis">
          <ac:chgData name="Srivaths Swaminathan" userId="fab820a8-d04c-4fb7-bc62-495e227921e9" providerId="ADAL" clId="{7BA84AA0-DF91-44A9-A18C-3379702B0E32}" dt="2023-08-17T18:03:24.881" v="10064"/>
          <ac:spMkLst>
            <pc:docMk/>
            <pc:sldMk cId="1269469517" sldId="2147479614"/>
            <ac:spMk id="3" creationId="{D7454ED5-4D54-71E5-DCAC-6E6445C70CC3}"/>
          </ac:spMkLst>
        </pc:spChg>
        <pc:spChg chg="add del mod modVis">
          <ac:chgData name="Srivaths Swaminathan" userId="fab820a8-d04c-4fb7-bc62-495e227921e9" providerId="ADAL" clId="{7BA84AA0-DF91-44A9-A18C-3379702B0E32}" dt="2023-08-18T14:52:12.034" v="13738"/>
          <ac:spMkLst>
            <pc:docMk/>
            <pc:sldMk cId="1269469517" sldId="2147479614"/>
            <ac:spMk id="3" creationId="{FAAFF193-1667-A098-65B7-11C591919A11}"/>
          </ac:spMkLst>
        </pc:spChg>
        <pc:spChg chg="add del mod modVis">
          <ac:chgData name="Srivaths Swaminathan" userId="fab820a8-d04c-4fb7-bc62-495e227921e9" providerId="ADAL" clId="{7BA84AA0-DF91-44A9-A18C-3379702B0E32}" dt="2023-08-21T08:18:05.131" v="17220"/>
          <ac:spMkLst>
            <pc:docMk/>
            <pc:sldMk cId="1269469517" sldId="2147479614"/>
            <ac:spMk id="5" creationId="{B0E6E76C-0DB1-5D41-B632-D24A8FF09394}"/>
          </ac:spMkLst>
        </pc:spChg>
        <pc:spChg chg="add del mod modVis">
          <ac:chgData name="Srivaths Swaminathan" userId="fab820a8-d04c-4fb7-bc62-495e227921e9" providerId="ADAL" clId="{7BA84AA0-DF91-44A9-A18C-3379702B0E32}" dt="2023-08-18T14:52:13.865" v="13773"/>
          <ac:spMkLst>
            <pc:docMk/>
            <pc:sldMk cId="1269469517" sldId="2147479614"/>
            <ac:spMk id="5" creationId="{C96F7C8D-1D81-C5BF-9AC4-CC38EE0541FA}"/>
          </ac:spMkLst>
        </pc:spChg>
        <pc:spChg chg="add del mod modVis">
          <ac:chgData name="Srivaths Swaminathan" userId="fab820a8-d04c-4fb7-bc62-495e227921e9" providerId="ADAL" clId="{7BA84AA0-DF91-44A9-A18C-3379702B0E32}" dt="2023-08-21T08:24:58.977" v="17655"/>
          <ac:spMkLst>
            <pc:docMk/>
            <pc:sldMk cId="1269469517" sldId="2147479614"/>
            <ac:spMk id="6" creationId="{967E2F0E-421E-31E3-4261-C51EE5A5624F}"/>
          </ac:spMkLst>
        </pc:spChg>
        <pc:spChg chg="add del mod modVis">
          <ac:chgData name="Srivaths Swaminathan" userId="fab820a8-d04c-4fb7-bc62-495e227921e9" providerId="ADAL" clId="{7BA84AA0-DF91-44A9-A18C-3379702B0E32}" dt="2023-08-18T14:52:21.970" v="13813"/>
          <ac:spMkLst>
            <pc:docMk/>
            <pc:sldMk cId="1269469517" sldId="2147479614"/>
            <ac:spMk id="6" creationId="{A18552AB-FCB0-03AF-2E91-05449F92FFD8}"/>
          </ac:spMkLst>
        </pc:spChg>
        <pc:spChg chg="add del mod modVis">
          <ac:chgData name="Srivaths Swaminathan" userId="fab820a8-d04c-4fb7-bc62-495e227921e9" providerId="ADAL" clId="{7BA84AA0-DF91-44A9-A18C-3379702B0E32}" dt="2023-08-21T08:25:02.140" v="17700"/>
          <ac:spMkLst>
            <pc:docMk/>
            <pc:sldMk cId="1269469517" sldId="2147479614"/>
            <ac:spMk id="7" creationId="{0948C726-96F0-6C49-CDCE-06ECB4303ACD}"/>
          </ac:spMkLst>
        </pc:spChg>
        <pc:spChg chg="add del mod modVis">
          <ac:chgData name="Srivaths Swaminathan" userId="fab820a8-d04c-4fb7-bc62-495e227921e9" providerId="ADAL" clId="{7BA84AA0-DF91-44A9-A18C-3379702B0E32}" dt="2023-08-18T14:52:31.278" v="13845"/>
          <ac:spMkLst>
            <pc:docMk/>
            <pc:sldMk cId="1269469517" sldId="2147479614"/>
            <ac:spMk id="7" creationId="{1B7D374A-3F61-CDEE-D2BC-0E34BA77D7B7}"/>
          </ac:spMkLst>
        </pc:spChg>
        <pc:spChg chg="add del mod modVis">
          <ac:chgData name="Srivaths Swaminathan" userId="fab820a8-d04c-4fb7-bc62-495e227921e9" providerId="ADAL" clId="{7BA84AA0-DF91-44A9-A18C-3379702B0E32}" dt="2023-08-21T08:25:03.722" v="17734"/>
          <ac:spMkLst>
            <pc:docMk/>
            <pc:sldMk cId="1269469517" sldId="2147479614"/>
            <ac:spMk id="8" creationId="{668C6C78-FF19-FF02-D14D-3D298023151E}"/>
          </ac:spMkLst>
        </pc:spChg>
        <pc:spChg chg="add del mod modVis">
          <ac:chgData name="Srivaths Swaminathan" userId="fab820a8-d04c-4fb7-bc62-495e227921e9" providerId="ADAL" clId="{7BA84AA0-DF91-44A9-A18C-3379702B0E32}" dt="2023-08-18T14:52:32.386" v="13876"/>
          <ac:spMkLst>
            <pc:docMk/>
            <pc:sldMk cId="1269469517" sldId="2147479614"/>
            <ac:spMk id="8" creationId="{F8A79317-29F0-4ED8-A76C-4D53B055DA3E}"/>
          </ac:spMkLst>
        </pc:spChg>
        <pc:spChg chg="add del mod modVis">
          <ac:chgData name="Srivaths Swaminathan" userId="fab820a8-d04c-4fb7-bc62-495e227921e9" providerId="ADAL" clId="{7BA84AA0-DF91-44A9-A18C-3379702B0E32}" dt="2023-08-21T08:25:26.591" v="17778"/>
          <ac:spMkLst>
            <pc:docMk/>
            <pc:sldMk cId="1269469517" sldId="2147479614"/>
            <ac:spMk id="9" creationId="{4DF0B308-6139-82A5-A45F-CDB0E5AC8C1B}"/>
          </ac:spMkLst>
        </pc:spChg>
        <pc:spChg chg="add del mod modVis">
          <ac:chgData name="Srivaths Swaminathan" userId="fab820a8-d04c-4fb7-bc62-495e227921e9" providerId="ADAL" clId="{7BA84AA0-DF91-44A9-A18C-3379702B0E32}" dt="2023-08-18T14:52:34.037" v="13907"/>
          <ac:spMkLst>
            <pc:docMk/>
            <pc:sldMk cId="1269469517" sldId="2147479614"/>
            <ac:spMk id="9" creationId="{848520C7-C21D-E803-B028-442B816B6482}"/>
          </ac:spMkLst>
        </pc:spChg>
        <pc:spChg chg="add del mod modVis">
          <ac:chgData name="Srivaths Swaminathan" userId="fab820a8-d04c-4fb7-bc62-495e227921e9" providerId="ADAL" clId="{7BA84AA0-DF91-44A9-A18C-3379702B0E32}" dt="2023-08-21T08:25:30.609" v="17818"/>
          <ac:spMkLst>
            <pc:docMk/>
            <pc:sldMk cId="1269469517" sldId="2147479614"/>
            <ac:spMk id="10" creationId="{73026232-0515-4613-9734-89E770798A26}"/>
          </ac:spMkLst>
        </pc:spChg>
        <pc:spChg chg="add del mod modVis">
          <ac:chgData name="Srivaths Swaminathan" userId="fab820a8-d04c-4fb7-bc62-495e227921e9" providerId="ADAL" clId="{7BA84AA0-DF91-44A9-A18C-3379702B0E32}" dt="2023-08-18T14:52:36.664" v="13946"/>
          <ac:spMkLst>
            <pc:docMk/>
            <pc:sldMk cId="1269469517" sldId="2147479614"/>
            <ac:spMk id="10" creationId="{C59D88C1-B7E9-7C59-74B3-0852E5B9E635}"/>
          </ac:spMkLst>
        </pc:spChg>
        <pc:spChg chg="add del mod modVis">
          <ac:chgData name="Srivaths Swaminathan" userId="fab820a8-d04c-4fb7-bc62-495e227921e9" providerId="ADAL" clId="{7BA84AA0-DF91-44A9-A18C-3379702B0E32}" dt="2023-08-21T08:25:37.929" v="17853"/>
          <ac:spMkLst>
            <pc:docMk/>
            <pc:sldMk cId="1269469517" sldId="2147479614"/>
            <ac:spMk id="11" creationId="{40E2EA6C-BE55-51EC-AB64-29AED6BDAA5F}"/>
          </ac:spMkLst>
        </pc:spChg>
        <pc:spChg chg="add del mod modVis">
          <ac:chgData name="Srivaths Swaminathan" userId="fab820a8-d04c-4fb7-bc62-495e227921e9" providerId="ADAL" clId="{7BA84AA0-DF91-44A9-A18C-3379702B0E32}" dt="2023-08-18T14:56:20.030" v="13991"/>
          <ac:spMkLst>
            <pc:docMk/>
            <pc:sldMk cId="1269469517" sldId="2147479614"/>
            <ac:spMk id="11" creationId="{B3F2E7E1-AC87-8A87-9ACB-EB6C0A363644}"/>
          </ac:spMkLst>
        </pc:spChg>
        <pc:spChg chg="add del mod modVis">
          <ac:chgData name="Srivaths Swaminathan" userId="fab820a8-d04c-4fb7-bc62-495e227921e9" providerId="ADAL" clId="{7BA84AA0-DF91-44A9-A18C-3379702B0E32}" dt="2023-08-18T14:56:21.432" v="14024"/>
          <ac:spMkLst>
            <pc:docMk/>
            <pc:sldMk cId="1269469517" sldId="2147479614"/>
            <ac:spMk id="12" creationId="{C0C400CA-E5AB-F955-90E9-23660B785EE1}"/>
          </ac:spMkLst>
        </pc:spChg>
        <pc:spChg chg="add del mod modVis">
          <ac:chgData name="Srivaths Swaminathan" userId="fab820a8-d04c-4fb7-bc62-495e227921e9" providerId="ADAL" clId="{7BA84AA0-DF91-44A9-A18C-3379702B0E32}" dt="2023-08-21T08:25:42.402" v="17881"/>
          <ac:spMkLst>
            <pc:docMk/>
            <pc:sldMk cId="1269469517" sldId="2147479614"/>
            <ac:spMk id="12" creationId="{FCE3AB2D-0F05-10A7-D75D-4A2E02B3E9A3}"/>
          </ac:spMkLst>
        </pc:spChg>
        <pc:spChg chg="add del mod modVis">
          <ac:chgData name="Srivaths Swaminathan" userId="fab820a8-d04c-4fb7-bc62-495e227921e9" providerId="ADAL" clId="{7BA84AA0-DF91-44A9-A18C-3379702B0E32}" dt="2023-08-21T08:25:45.687" v="17930"/>
          <ac:spMkLst>
            <pc:docMk/>
            <pc:sldMk cId="1269469517" sldId="2147479614"/>
            <ac:spMk id="13" creationId="{0705316F-C648-D061-2B6F-E6A0A640E82B}"/>
          </ac:spMkLst>
        </pc:spChg>
        <pc:spChg chg="add del mod modVis">
          <ac:chgData name="Srivaths Swaminathan" userId="fab820a8-d04c-4fb7-bc62-495e227921e9" providerId="ADAL" clId="{7BA84AA0-DF91-44A9-A18C-3379702B0E32}" dt="2023-08-18T14:56:29.048" v="14053"/>
          <ac:spMkLst>
            <pc:docMk/>
            <pc:sldMk cId="1269469517" sldId="2147479614"/>
            <ac:spMk id="13" creationId="{0C55A411-3548-EAE2-4572-8E98738D99EE}"/>
          </ac:spMkLst>
        </pc:spChg>
        <pc:spChg chg="add del mod modVis">
          <ac:chgData name="Srivaths Swaminathan" userId="fab820a8-d04c-4fb7-bc62-495e227921e9" providerId="ADAL" clId="{7BA84AA0-DF91-44A9-A18C-3379702B0E32}" dt="2023-08-18T14:56:33.274" v="14094"/>
          <ac:spMkLst>
            <pc:docMk/>
            <pc:sldMk cId="1269469517" sldId="2147479614"/>
            <ac:spMk id="14" creationId="{16D2C9CB-5194-D7E9-7ED5-5F4EACE8066C}"/>
          </ac:spMkLst>
        </pc:spChg>
        <pc:spChg chg="add del mod modVis">
          <ac:chgData name="Srivaths Swaminathan" userId="fab820a8-d04c-4fb7-bc62-495e227921e9" providerId="ADAL" clId="{7BA84AA0-DF91-44A9-A18C-3379702B0E32}" dt="2023-08-21T08:25:46.543" v="17958"/>
          <ac:spMkLst>
            <pc:docMk/>
            <pc:sldMk cId="1269469517" sldId="2147479614"/>
            <ac:spMk id="14" creationId="{B5F6D988-019F-FEFF-4734-4E6BC1B4A893}"/>
          </ac:spMkLst>
        </pc:spChg>
        <pc:spChg chg="add del mod modVis">
          <ac:chgData name="Srivaths Swaminathan" userId="fab820a8-d04c-4fb7-bc62-495e227921e9" providerId="ADAL" clId="{7BA84AA0-DF91-44A9-A18C-3379702B0E32}" dt="2023-08-21T08:26:00.213" v="18011"/>
          <ac:spMkLst>
            <pc:docMk/>
            <pc:sldMk cId="1269469517" sldId="2147479614"/>
            <ac:spMk id="15" creationId="{00AAA422-268D-EB26-FC07-0B804A68558E}"/>
          </ac:spMkLst>
        </pc:spChg>
        <pc:spChg chg="add del mod modVis">
          <ac:chgData name="Srivaths Swaminathan" userId="fab820a8-d04c-4fb7-bc62-495e227921e9" providerId="ADAL" clId="{7BA84AA0-DF91-44A9-A18C-3379702B0E32}" dt="2023-08-18T14:56:37.429" v="14131"/>
          <ac:spMkLst>
            <pc:docMk/>
            <pc:sldMk cId="1269469517" sldId="2147479614"/>
            <ac:spMk id="15" creationId="{ED17BD2F-C304-E7F0-F0A0-5C75FB3EC268}"/>
          </ac:spMkLst>
        </pc:spChg>
        <pc:spChg chg="add del mod modVis">
          <ac:chgData name="Srivaths Swaminathan" userId="fab820a8-d04c-4fb7-bc62-495e227921e9" providerId="ADAL" clId="{7BA84AA0-DF91-44A9-A18C-3379702B0E32}" dt="2023-08-18T14:56:38.480" v="14161"/>
          <ac:spMkLst>
            <pc:docMk/>
            <pc:sldMk cId="1269469517" sldId="2147479614"/>
            <ac:spMk id="16" creationId="{04114D6B-79CD-4F31-01D5-E035E7959623}"/>
          </ac:spMkLst>
        </pc:spChg>
        <pc:spChg chg="add del mod modVis">
          <ac:chgData name="Srivaths Swaminathan" userId="fab820a8-d04c-4fb7-bc62-495e227921e9" providerId="ADAL" clId="{7BA84AA0-DF91-44A9-A18C-3379702B0E32}" dt="2023-08-21T08:26:01.379" v="18039"/>
          <ac:spMkLst>
            <pc:docMk/>
            <pc:sldMk cId="1269469517" sldId="2147479614"/>
            <ac:spMk id="16" creationId="{A6DCB76C-0C8A-81F2-1CD5-8ABCD599D9E4}"/>
          </ac:spMkLst>
        </pc:spChg>
        <pc:spChg chg="add del mod modVis">
          <ac:chgData name="Srivaths Swaminathan" userId="fab820a8-d04c-4fb7-bc62-495e227921e9" providerId="ADAL" clId="{7BA84AA0-DF91-44A9-A18C-3379702B0E32}" dt="2023-08-18T14:56:40.681" v="14191"/>
          <ac:spMkLst>
            <pc:docMk/>
            <pc:sldMk cId="1269469517" sldId="2147479614"/>
            <ac:spMk id="17" creationId="{03E235A0-F100-6B0F-BDF5-D839239D6F5F}"/>
          </ac:spMkLst>
        </pc:spChg>
        <pc:spChg chg="add del mod modVis">
          <ac:chgData name="Srivaths Swaminathan" userId="fab820a8-d04c-4fb7-bc62-495e227921e9" providerId="ADAL" clId="{7BA84AA0-DF91-44A9-A18C-3379702B0E32}" dt="2023-08-21T08:26:09.594" v="18077"/>
          <ac:spMkLst>
            <pc:docMk/>
            <pc:sldMk cId="1269469517" sldId="2147479614"/>
            <ac:spMk id="17" creationId="{DDD80A84-4D51-E275-9DC1-97B28FDF9415}"/>
          </ac:spMkLst>
        </pc:spChg>
        <pc:spChg chg="add del mod modVis">
          <ac:chgData name="Srivaths Swaminathan" userId="fab820a8-d04c-4fb7-bc62-495e227921e9" providerId="ADAL" clId="{7BA84AA0-DF91-44A9-A18C-3379702B0E32}" dt="2023-08-18T14:56:41.651" v="14221"/>
          <ac:spMkLst>
            <pc:docMk/>
            <pc:sldMk cId="1269469517" sldId="2147479614"/>
            <ac:spMk id="18" creationId="{0765D16D-080D-9EC2-6A50-27930A7EED7D}"/>
          </ac:spMkLst>
        </pc:spChg>
        <pc:spChg chg="add del mod modVis">
          <ac:chgData name="Srivaths Swaminathan" userId="fab820a8-d04c-4fb7-bc62-495e227921e9" providerId="ADAL" clId="{7BA84AA0-DF91-44A9-A18C-3379702B0E32}" dt="2023-08-21T08:26:14.658" v="18123"/>
          <ac:spMkLst>
            <pc:docMk/>
            <pc:sldMk cId="1269469517" sldId="2147479614"/>
            <ac:spMk id="18" creationId="{E145A3F7-2CEA-1F66-858E-22909F9164B3}"/>
          </ac:spMkLst>
        </pc:spChg>
        <pc:spChg chg="add del mod modVis">
          <ac:chgData name="Srivaths Swaminathan" userId="fab820a8-d04c-4fb7-bc62-495e227921e9" providerId="ADAL" clId="{7BA84AA0-DF91-44A9-A18C-3379702B0E32}" dt="2023-08-18T14:57:49.239" v="14252"/>
          <ac:spMkLst>
            <pc:docMk/>
            <pc:sldMk cId="1269469517" sldId="2147479614"/>
            <ac:spMk id="19" creationId="{D7A0EB54-EDF8-2F7F-2737-63D3BE087EAA}"/>
          </ac:spMkLst>
        </pc:spChg>
        <pc:spChg chg="add del mod modVis">
          <ac:chgData name="Srivaths Swaminathan" userId="fab820a8-d04c-4fb7-bc62-495e227921e9" providerId="ADAL" clId="{7BA84AA0-DF91-44A9-A18C-3379702B0E32}" dt="2023-08-18T14:57:50.218" v="14284"/>
          <ac:spMkLst>
            <pc:docMk/>
            <pc:sldMk cId="1269469517" sldId="2147479614"/>
            <ac:spMk id="20" creationId="{C63811A7-5FDB-6B79-F7B2-677FB9849A22}"/>
          </ac:spMkLst>
        </pc:spChg>
        <pc:spChg chg="add del mod modVis">
          <ac:chgData name="Srivaths Swaminathan" userId="fab820a8-d04c-4fb7-bc62-495e227921e9" providerId="ADAL" clId="{7BA84AA0-DF91-44A9-A18C-3379702B0E32}" dt="2023-08-18T14:57:51.842" v="14315"/>
          <ac:spMkLst>
            <pc:docMk/>
            <pc:sldMk cId="1269469517" sldId="2147479614"/>
            <ac:spMk id="21" creationId="{D67DBF21-8004-DE68-B22D-746AF6E229F5}"/>
          </ac:spMkLst>
        </pc:spChg>
        <pc:spChg chg="add del mod modVis">
          <ac:chgData name="Srivaths Swaminathan" userId="fab820a8-d04c-4fb7-bc62-495e227921e9" providerId="ADAL" clId="{7BA84AA0-DF91-44A9-A18C-3379702B0E32}" dt="2023-08-18T14:58:12.219" v="14350"/>
          <ac:spMkLst>
            <pc:docMk/>
            <pc:sldMk cId="1269469517" sldId="2147479614"/>
            <ac:spMk id="22" creationId="{BA1FC4CA-E5A8-CA53-37F2-330995E18F3B}"/>
          </ac:spMkLst>
        </pc:spChg>
        <pc:spChg chg="add del mod modVis">
          <ac:chgData name="Srivaths Swaminathan" userId="fab820a8-d04c-4fb7-bc62-495e227921e9" providerId="ADAL" clId="{7BA84AA0-DF91-44A9-A18C-3379702B0E32}" dt="2023-08-18T14:58:21.882" v="14430"/>
          <ac:spMkLst>
            <pc:docMk/>
            <pc:sldMk cId="1269469517" sldId="2147479614"/>
            <ac:spMk id="23" creationId="{A62A1897-E5C0-C92A-CAA8-45ECD714F627}"/>
          </ac:spMkLst>
        </pc:spChg>
        <pc:spChg chg="add del mod modVis">
          <ac:chgData name="Srivaths Swaminathan" userId="fab820a8-d04c-4fb7-bc62-495e227921e9" providerId="ADAL" clId="{7BA84AA0-DF91-44A9-A18C-3379702B0E32}" dt="2023-08-18T14:58:24" v="14466"/>
          <ac:spMkLst>
            <pc:docMk/>
            <pc:sldMk cId="1269469517" sldId="2147479614"/>
            <ac:spMk id="24" creationId="{6CFAF02D-B3C9-EF7F-9FA6-EAE5E32DAB8F}"/>
          </ac:spMkLst>
        </pc:spChg>
        <pc:spChg chg="add del mod modVis">
          <ac:chgData name="Srivaths Swaminathan" userId="fab820a8-d04c-4fb7-bc62-495e227921e9" providerId="ADAL" clId="{7BA84AA0-DF91-44A9-A18C-3379702B0E32}" dt="2023-08-18T14:58:29.333" v="14497"/>
          <ac:spMkLst>
            <pc:docMk/>
            <pc:sldMk cId="1269469517" sldId="2147479614"/>
            <ac:spMk id="25" creationId="{6679053F-1C7A-61A5-3F44-75B0339C7AFE}"/>
          </ac:spMkLst>
        </pc:spChg>
        <pc:spChg chg="add del mod modVis">
          <ac:chgData name="Srivaths Swaminathan" userId="fab820a8-d04c-4fb7-bc62-495e227921e9" providerId="ADAL" clId="{7BA84AA0-DF91-44A9-A18C-3379702B0E32}" dt="2023-08-18T14:58:38.328" v="14525"/>
          <ac:spMkLst>
            <pc:docMk/>
            <pc:sldMk cId="1269469517" sldId="2147479614"/>
            <ac:spMk id="26" creationId="{2BAD9554-DFED-AC99-1AAB-117DBB4EEDE9}"/>
          </ac:spMkLst>
        </pc:spChg>
        <pc:spChg chg="add del mod modVis">
          <ac:chgData name="Srivaths Swaminathan" userId="fab820a8-d04c-4fb7-bc62-495e227921e9" providerId="ADAL" clId="{7BA84AA0-DF91-44A9-A18C-3379702B0E32}" dt="2023-08-18T14:58:43.366" v="14553"/>
          <ac:spMkLst>
            <pc:docMk/>
            <pc:sldMk cId="1269469517" sldId="2147479614"/>
            <ac:spMk id="27" creationId="{2C3F381D-6355-C280-EE03-3667D6F4A3BD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27" creationId="{8AF42D3B-B3FC-BF46-4886-57D137FB3635}"/>
          </ac:spMkLst>
        </pc:spChg>
        <pc:spChg chg="add mod">
          <ac:chgData name="Srivaths Swaminathan" userId="fab820a8-d04c-4fb7-bc62-495e227921e9" providerId="ADAL" clId="{7BA84AA0-DF91-44A9-A18C-3379702B0E32}" dt="2023-08-21T10:38:07.914" v="19886" actId="1076"/>
          <ac:spMkLst>
            <pc:docMk/>
            <pc:sldMk cId="1269469517" sldId="2147479614"/>
            <ac:spMk id="28" creationId="{BAE22AFC-2EE1-C157-5B70-DA2F1F1A0915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28" creationId="{CE967DE1-AA2C-2766-6D70-F8D316F70382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29" creationId="{0513D797-7B18-4806-0F4E-07EA40F35A46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30" creationId="{D5449055-9152-2E3F-EE76-92CFF6726E32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31" creationId="{3BE94753-A111-9D31-0BE5-C1DFA572821C}"/>
          </ac:spMkLst>
        </pc:spChg>
        <pc:spChg chg="add del mod">
          <ac:chgData name="Srivaths Swaminathan" userId="fab820a8-d04c-4fb7-bc62-495e227921e9" providerId="ADAL" clId="{7BA84AA0-DF91-44A9-A18C-3379702B0E32}" dt="2023-08-17T18:12:29.111" v="10169" actId="478"/>
          <ac:spMkLst>
            <pc:docMk/>
            <pc:sldMk cId="1269469517" sldId="2147479614"/>
            <ac:spMk id="32" creationId="{1FB34C31-5AC0-F78D-3424-899F070E8E40}"/>
          </ac:spMkLst>
        </pc:spChg>
        <pc:spChg chg="add del mod">
          <ac:chgData name="Srivaths Swaminathan" userId="fab820a8-d04c-4fb7-bc62-495e227921e9" providerId="ADAL" clId="{7BA84AA0-DF91-44A9-A18C-3379702B0E32}" dt="2023-08-18T14:51:41.967" v="13693" actId="478"/>
          <ac:spMkLst>
            <pc:docMk/>
            <pc:sldMk cId="1269469517" sldId="2147479614"/>
            <ac:spMk id="34" creationId="{30675641-2D6C-4F51-30D9-ED649298C9D6}"/>
          </ac:spMkLst>
        </pc:spChg>
        <pc:spChg chg="add del mod">
          <ac:chgData name="Srivaths Swaminathan" userId="fab820a8-d04c-4fb7-bc62-495e227921e9" providerId="ADAL" clId="{7BA84AA0-DF91-44A9-A18C-3379702B0E32}" dt="2023-08-18T14:44:36.870" v="13638" actId="478"/>
          <ac:spMkLst>
            <pc:docMk/>
            <pc:sldMk cId="1269469517" sldId="2147479614"/>
            <ac:spMk id="35" creationId="{4FD9C2C1-D7EF-DAA4-4BE5-F1CC154FD9F2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36" creationId="{AABB7D45-BD13-81DA-334C-8EE4EE5D69D6}"/>
          </ac:spMkLst>
        </pc:spChg>
        <pc:spChg chg="del">
          <ac:chgData name="Srivaths Swaminathan" userId="fab820a8-d04c-4fb7-bc62-495e227921e9" providerId="ADAL" clId="{7BA84AA0-DF91-44A9-A18C-3379702B0E32}" dt="2023-08-17T18:03:49.510" v="10067" actId="478"/>
          <ac:spMkLst>
            <pc:docMk/>
            <pc:sldMk cId="1269469517" sldId="2147479614"/>
            <ac:spMk id="37" creationId="{842E1871-4ADA-8587-5F82-818D9E6A71A7}"/>
          </ac:spMkLst>
        </pc:s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5" creationId="{6334D6F6-96A7-F339-30EB-86592F3B0B8B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6" creationId="{763A28FE-2AE9-1FF0-E376-DF1BED9EC410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7" creationId="{E9E96D2B-FB64-A062-C8C4-0970AE01827F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8" creationId="{1EEC1139-17F6-FCF3-153F-7197A6FF9560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9" creationId="{CBB6FCDC-CC66-5619-198A-4E354855DC98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10" creationId="{A6BBC82C-49A1-D0E1-761E-3E34910F4089}"/>
          </ac:grpSpMkLst>
        </pc:grpChg>
        <pc:grpChg chg="del">
          <ac:chgData name="Srivaths Swaminathan" userId="fab820a8-d04c-4fb7-bc62-495e227921e9" providerId="ADAL" clId="{7BA84AA0-DF91-44A9-A18C-3379702B0E32}" dt="2023-08-17T18:03:49.510" v="10067" actId="478"/>
          <ac:grpSpMkLst>
            <pc:docMk/>
            <pc:sldMk cId="1269469517" sldId="2147479614"/>
            <ac:grpSpMk id="11" creationId="{939B97B1-4DD5-24D6-F13A-D6F4105EE765}"/>
          </ac:grpSpMkLst>
        </pc:grpChg>
        <pc:graphicFrameChg chg="add mod modGraphic">
          <ac:chgData name="Srivaths Swaminathan" userId="fab820a8-d04c-4fb7-bc62-495e227921e9" providerId="ADAL" clId="{7BA84AA0-DF91-44A9-A18C-3379702B0E32}" dt="2023-08-21T08:23:38.305" v="17591" actId="20577"/>
          <ac:graphicFrameMkLst>
            <pc:docMk/>
            <pc:sldMk cId="1269469517" sldId="2147479614"/>
            <ac:graphicFrameMk id="4" creationId="{98C3C474-6302-226C-ED97-94625F41E4E9}"/>
          </ac:graphicFrameMkLst>
        </pc:graphicFrameChg>
        <pc:graphicFrameChg chg="del">
          <ac:chgData name="Srivaths Swaminathan" userId="fab820a8-d04c-4fb7-bc62-495e227921e9" providerId="ADAL" clId="{7BA84AA0-DF91-44A9-A18C-3379702B0E32}" dt="2023-08-17T18:03:49.510" v="10067" actId="478"/>
          <ac:graphicFrameMkLst>
            <pc:docMk/>
            <pc:sldMk cId="1269469517" sldId="2147479614"/>
            <ac:graphicFrameMk id="26" creationId="{57934A5A-5C35-66CB-D60C-9B97A7A1AC7B}"/>
          </ac:graphicFrameMkLst>
        </pc:graphicFrameChg>
        <pc:graphicFrameChg chg="mod">
          <ac:chgData name="Srivaths Swaminathan" userId="fab820a8-d04c-4fb7-bc62-495e227921e9" providerId="ADAL" clId="{7BA84AA0-DF91-44A9-A18C-3379702B0E32}" dt="2023-08-21T08:26:14.662" v="18125"/>
          <ac:graphicFrameMkLst>
            <pc:docMk/>
            <pc:sldMk cId="1269469517" sldId="2147479614"/>
            <ac:graphicFrameMk id="33" creationId="{0BC2B17D-F58E-9720-CE62-9A04EBC4E8F8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4:52:51.597" v="13950"/>
              <pc2:cmMkLst xmlns:pc2="http://schemas.microsoft.com/office/powerpoint/2019/9/main/command">
                <pc:docMk/>
                <pc:sldMk cId="1269469517" sldId="2147479614"/>
                <pc2:cmMk id="{A65B6E89-9BC8-40DA-9E74-5C38C24CC3FC}"/>
              </pc2:cmMkLst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4:44:36.931" v="13639" actId="2056"/>
              <pc2:cmMkLst xmlns:pc2="http://schemas.microsoft.com/office/powerpoint/2019/9/main/command">
                <pc:docMk/>
                <pc:sldMk cId="1269469517" sldId="2147479614"/>
                <pc2:cmMk id="{DFBF4FC9-5532-4393-86AE-4C85AD35F75F}"/>
              </pc2:cmMkLst>
              <pc226:cmRplyChg chg="add">
                <pc226:chgData name="Srivaths Swaminathan" userId="fab820a8-d04c-4fb7-bc62-495e227921e9" providerId="ADAL" clId="{7BA84AA0-DF91-44A9-A18C-3379702B0E32}" dt="2023-08-18T14:44:12.332" v="13632"/>
                <pc2:cmRplyMkLst xmlns:pc2="http://schemas.microsoft.com/office/powerpoint/2019/9/main/command">
                  <pc:docMk/>
                  <pc:sldMk cId="1269469517" sldId="2147479614"/>
                  <pc2:cmMk id="{DFBF4FC9-5532-4393-86AE-4C85AD35F75F}"/>
                  <pc2:cmRplyMk id="{CDEA7EA9-8C6F-4D97-ABFE-28445D21D0C1}"/>
                </pc2:cmRplyMkLst>
              </pc226:cmRplyChg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4:52:48.631" v="13949"/>
              <pc2:cmMkLst xmlns:pc2="http://schemas.microsoft.com/office/powerpoint/2019/9/main/command">
                <pc:docMk/>
                <pc:sldMk cId="1269469517" sldId="2147479614"/>
                <pc2:cmMk id="{278E52E1-017B-4029-BA78-9FEDB4C39859}"/>
              </pc2:cmMkLst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4:43:17.645" v="13625"/>
              <pc2:cmMkLst xmlns:pc2="http://schemas.microsoft.com/office/powerpoint/2019/9/main/command">
                <pc:docMk/>
                <pc:sldMk cId="1269469517" sldId="2147479614"/>
                <pc2:cmMk id="{D3A18CE9-3D80-4305-86E5-5C46BB04FC4B}"/>
              </pc2:cmMkLst>
            </pc226:cmChg>
          </p:ext>
        </pc:extLst>
      </pc:sldChg>
      <pc:sldChg chg="addSp delSp modSp add mod ord addCm delCm modCm">
        <pc:chgData name="Srivaths Swaminathan" userId="fab820a8-d04c-4fb7-bc62-495e227921e9" providerId="ADAL" clId="{7BA84AA0-DF91-44A9-A18C-3379702B0E32}" dt="2023-08-31T15:03:44.155" v="28927"/>
        <pc:sldMkLst>
          <pc:docMk/>
          <pc:sldMk cId="167908758" sldId="2147479615"/>
        </pc:sldMkLst>
        <pc:spChg chg="del mod">
          <ac:chgData name="Srivaths Swaminathan" userId="fab820a8-d04c-4fb7-bc62-495e227921e9" providerId="ADAL" clId="{7BA84AA0-DF91-44A9-A18C-3379702B0E32}" dt="2023-08-23T11:29:46.511" v="21989" actId="478"/>
          <ac:spMkLst>
            <pc:docMk/>
            <pc:sldMk cId="167908758" sldId="2147479615"/>
            <ac:spMk id="2" creationId="{5D4F1624-A0F4-36CC-6333-08148A0641A8}"/>
          </ac:spMkLst>
        </pc:spChg>
        <pc:spChg chg="add del mod">
          <ac:chgData name="Srivaths Swaminathan" userId="fab820a8-d04c-4fb7-bc62-495e227921e9" providerId="ADAL" clId="{7BA84AA0-DF91-44A9-A18C-3379702B0E32}" dt="2023-08-30T17:13:21.622" v="28893" actId="478"/>
          <ac:spMkLst>
            <pc:docMk/>
            <pc:sldMk cId="167908758" sldId="2147479615"/>
            <ac:spMk id="2" creationId="{95537494-2875-3163-2DDA-0C2CE211F5CA}"/>
          </ac:spMkLst>
        </pc:spChg>
        <pc:spChg chg="add del mod modVis">
          <ac:chgData name="Srivaths Swaminathan" userId="fab820a8-d04c-4fb7-bc62-495e227921e9" providerId="ADAL" clId="{7BA84AA0-DF91-44A9-A18C-3379702B0E32}" dt="2023-08-17T18:17:16.626" v="10663"/>
          <ac:spMkLst>
            <pc:docMk/>
            <pc:sldMk cId="167908758" sldId="2147479615"/>
            <ac:spMk id="3" creationId="{8F2AD348-1522-5040-3CBF-8C09B2FB693E}"/>
          </ac:spMkLst>
        </pc:spChg>
        <pc:spChg chg="add del mod">
          <ac:chgData name="Srivaths Swaminathan" userId="fab820a8-d04c-4fb7-bc62-495e227921e9" providerId="ADAL" clId="{7BA84AA0-DF91-44A9-A18C-3379702B0E32}" dt="2023-08-23T11:30:01.195" v="22011" actId="478"/>
          <ac:spMkLst>
            <pc:docMk/>
            <pc:sldMk cId="167908758" sldId="2147479615"/>
            <ac:spMk id="4" creationId="{273FF85D-F115-AF53-8E00-3E19FD8419DE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5" creationId="{5DE90930-45C1-B154-D597-A8DB15E52342}"/>
          </ac:spMkLst>
        </pc:spChg>
        <pc:spChg chg="add del mod modVis">
          <ac:chgData name="Srivaths Swaminathan" userId="fab820a8-d04c-4fb7-bc62-495e227921e9" providerId="ADAL" clId="{7BA84AA0-DF91-44A9-A18C-3379702B0E32}" dt="2023-08-17T18:17:19.697" v="10695"/>
          <ac:spMkLst>
            <pc:docMk/>
            <pc:sldMk cId="167908758" sldId="2147479615"/>
            <ac:spMk id="5" creationId="{F2A56DA8-BB6A-18F6-E78C-27F9EB4C2C93}"/>
          </ac:spMkLst>
        </pc:spChg>
        <pc:spChg chg="add del mod modVis">
          <ac:chgData name="Srivaths Swaminathan" userId="fab820a8-d04c-4fb7-bc62-495e227921e9" providerId="ADAL" clId="{7BA84AA0-DF91-44A9-A18C-3379702B0E32}" dt="2023-08-21T08:18:29.065" v="17261"/>
          <ac:spMkLst>
            <pc:docMk/>
            <pc:sldMk cId="167908758" sldId="2147479615"/>
            <ac:spMk id="6" creationId="{27346FDA-5E32-D0FE-7B45-F2851F3AC5BF}"/>
          </ac:spMkLst>
        </pc:spChg>
        <pc:spChg chg="add del mod modVis">
          <ac:chgData name="Srivaths Swaminathan" userId="fab820a8-d04c-4fb7-bc62-495e227921e9" providerId="ADAL" clId="{7BA84AA0-DF91-44A9-A18C-3379702B0E32}" dt="2023-08-17T18:17:20.440" v="10724"/>
          <ac:spMkLst>
            <pc:docMk/>
            <pc:sldMk cId="167908758" sldId="2147479615"/>
            <ac:spMk id="6" creationId="{8CCB3339-8150-F798-38D1-76F3D84782D0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9" creationId="{4DF5F6D2-C57F-6C88-F50F-E2BAF9F2DA6A}"/>
          </ac:spMkLst>
        </pc:spChg>
        <pc:spChg chg="add mod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10" creationId="{37755D1F-9054-2AD7-2F26-3D07AF6FA6DA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13" creationId="{F729862B-0EAE-6B28-5788-E6FC975E853E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15" creationId="{9F5B9F6F-522A-BAD3-3EB0-B5134D83ABD0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16" creationId="{1D45F063-9762-8F66-E258-590E62E5E3E7}"/>
          </ac:spMkLst>
        </pc:spChg>
        <pc:spChg chg="add del mod">
          <ac:chgData name="Srivaths Swaminathan" userId="fab820a8-d04c-4fb7-bc62-495e227921e9" providerId="ADAL" clId="{7BA84AA0-DF91-44A9-A18C-3379702B0E32}" dt="2023-08-23T11:29:54.595" v="22001" actId="478"/>
          <ac:spMkLst>
            <pc:docMk/>
            <pc:sldMk cId="167908758" sldId="2147479615"/>
            <ac:spMk id="17" creationId="{0F72C7DB-EF51-D1C7-156F-CFE1264F8FC9}"/>
          </ac:spMkLst>
        </pc:spChg>
        <pc:spChg chg="add del mod modVis">
          <ac:chgData name="Srivaths Swaminathan" userId="fab820a8-d04c-4fb7-bc62-495e227921e9" providerId="ADAL" clId="{7BA84AA0-DF91-44A9-A18C-3379702B0E32}" dt="2023-08-21T08:18:33.422" v="17303"/>
          <ac:spMkLst>
            <pc:docMk/>
            <pc:sldMk cId="167908758" sldId="2147479615"/>
            <ac:spMk id="17" creationId="{105BE4FD-B9DB-98EE-D022-E93488385770}"/>
          </ac:spMkLst>
        </pc:spChg>
        <pc:spChg chg="del mod topLvl">
          <ac:chgData name="Srivaths Swaminathan" userId="fab820a8-d04c-4fb7-bc62-495e227921e9" providerId="ADAL" clId="{7BA84AA0-DF91-44A9-A18C-3379702B0E32}" dt="2023-08-23T15:36:58.938" v="22746" actId="478"/>
          <ac:spMkLst>
            <pc:docMk/>
            <pc:sldMk cId="167908758" sldId="2147479615"/>
            <ac:spMk id="18" creationId="{2DCBCB12-5658-9CEE-DAFB-F41A31CE3BC4}"/>
          </ac:spMkLst>
        </pc:spChg>
        <pc:spChg chg="mod topLvl">
          <ac:chgData name="Srivaths Swaminathan" userId="fab820a8-d04c-4fb7-bc62-495e227921e9" providerId="ADAL" clId="{7BA84AA0-DF91-44A9-A18C-3379702B0E32}" dt="2023-08-24T11:23:36.470" v="26484" actId="1035"/>
          <ac:spMkLst>
            <pc:docMk/>
            <pc:sldMk cId="167908758" sldId="2147479615"/>
            <ac:spMk id="20" creationId="{B1B895F6-F504-F95B-3AA8-725F761460F1}"/>
          </ac:spMkLst>
        </pc:spChg>
        <pc:spChg chg="add del mod">
          <ac:chgData name="Srivaths Swaminathan" userId="fab820a8-d04c-4fb7-bc62-495e227921e9" providerId="ADAL" clId="{7BA84AA0-DF91-44A9-A18C-3379702B0E32}" dt="2023-08-23T11:30:37.270" v="22029" actId="478"/>
          <ac:spMkLst>
            <pc:docMk/>
            <pc:sldMk cId="167908758" sldId="2147479615"/>
            <ac:spMk id="21" creationId="{87F11525-9E9A-D08E-156F-D51F7E6709DE}"/>
          </ac:spMkLst>
        </pc:spChg>
        <pc:spChg chg="add del mod modVis">
          <ac:chgData name="Srivaths Swaminathan" userId="fab820a8-d04c-4fb7-bc62-495e227921e9" providerId="ADAL" clId="{7BA84AA0-DF91-44A9-A18C-3379702B0E32}" dt="2023-08-21T08:18:34.178" v="17331"/>
          <ac:spMkLst>
            <pc:docMk/>
            <pc:sldMk cId="167908758" sldId="2147479615"/>
            <ac:spMk id="22" creationId="{54397B0B-783C-6359-7C86-AE391E52CF8C}"/>
          </ac:spMkLst>
        </pc:spChg>
        <pc:spChg chg="add del mod">
          <ac:chgData name="Srivaths Swaminathan" userId="fab820a8-d04c-4fb7-bc62-495e227921e9" providerId="ADAL" clId="{7BA84AA0-DF91-44A9-A18C-3379702B0E32}" dt="2023-08-18T16:00:50.812" v="14830" actId="478"/>
          <ac:spMkLst>
            <pc:docMk/>
            <pc:sldMk cId="167908758" sldId="2147479615"/>
            <ac:spMk id="22" creationId="{9CB9B3F1-E2C1-6AF7-A795-4DA9ECB0A810}"/>
          </ac:spMkLst>
        </pc:spChg>
        <pc:spChg chg="add del mod">
          <ac:chgData name="Srivaths Swaminathan" userId="fab820a8-d04c-4fb7-bc62-495e227921e9" providerId="ADAL" clId="{7BA84AA0-DF91-44A9-A18C-3379702B0E32}" dt="2023-08-23T11:30:20.691" v="22028" actId="478"/>
          <ac:spMkLst>
            <pc:docMk/>
            <pc:sldMk cId="167908758" sldId="2147479615"/>
            <ac:spMk id="23" creationId="{F9F30D9E-2625-9974-A360-71C45DB4973B}"/>
          </ac:spMkLst>
        </pc:spChg>
        <pc:spChg chg="add del mod">
          <ac:chgData name="Srivaths Swaminathan" userId="fab820a8-d04c-4fb7-bc62-495e227921e9" providerId="ADAL" clId="{7BA84AA0-DF91-44A9-A18C-3379702B0E32}" dt="2023-08-18T16:23:19.954" v="16618"/>
          <ac:spMkLst>
            <pc:docMk/>
            <pc:sldMk cId="167908758" sldId="2147479615"/>
            <ac:spMk id="25" creationId="{127D605E-2F04-4CA6-01E2-24DB4108747F}"/>
          </ac:spMkLst>
        </pc:spChg>
        <pc:spChg chg="add del mod modVis">
          <ac:chgData name="Srivaths Swaminathan" userId="fab820a8-d04c-4fb7-bc62-495e227921e9" providerId="ADAL" clId="{7BA84AA0-DF91-44A9-A18C-3379702B0E32}" dt="2023-08-21T08:18:39.801" v="17360"/>
          <ac:spMkLst>
            <pc:docMk/>
            <pc:sldMk cId="167908758" sldId="2147479615"/>
            <ac:spMk id="25" creationId="{296F76D2-EE88-1DAB-2FC3-AACEF8C833E3}"/>
          </ac:spMkLst>
        </pc:spChg>
        <pc:spChg chg="add del mod">
          <ac:chgData name="Srivaths Swaminathan" userId="fab820a8-d04c-4fb7-bc62-495e227921e9" providerId="ADAL" clId="{7BA84AA0-DF91-44A9-A18C-3379702B0E32}" dt="2023-08-23T11:29:57.645" v="22006" actId="478"/>
          <ac:spMkLst>
            <pc:docMk/>
            <pc:sldMk cId="167908758" sldId="2147479615"/>
            <ac:spMk id="25" creationId="{4B9C950C-31E1-35A8-A883-BAA1E3A0EAE7}"/>
          </ac:spMkLst>
        </pc:spChg>
        <pc:spChg chg="add del mod modVis">
          <ac:chgData name="Srivaths Swaminathan" userId="fab820a8-d04c-4fb7-bc62-495e227921e9" providerId="ADAL" clId="{7BA84AA0-DF91-44A9-A18C-3379702B0E32}" dt="2023-08-21T08:18:40.493" v="17389"/>
          <ac:spMkLst>
            <pc:docMk/>
            <pc:sldMk cId="167908758" sldId="2147479615"/>
            <ac:spMk id="26" creationId="{32B1229B-9365-22E4-601F-48E7191C7BCB}"/>
          </ac:spMkLst>
        </pc:spChg>
        <pc:spChg chg="add mod">
          <ac:chgData name="Srivaths Swaminathan" userId="fab820a8-d04c-4fb7-bc62-495e227921e9" providerId="ADAL" clId="{7BA84AA0-DF91-44A9-A18C-3379702B0E32}" dt="2023-08-23T11:30:13.564" v="22027" actId="20577"/>
          <ac:spMkLst>
            <pc:docMk/>
            <pc:sldMk cId="167908758" sldId="2147479615"/>
            <ac:spMk id="26" creationId="{9342488A-3876-A877-4A02-3D2DDA3E87A8}"/>
          </ac:spMkLst>
        </pc:spChg>
        <pc:spChg chg="add del mod modVis">
          <ac:chgData name="Srivaths Swaminathan" userId="fab820a8-d04c-4fb7-bc62-495e227921e9" providerId="ADAL" clId="{7BA84AA0-DF91-44A9-A18C-3379702B0E32}" dt="2023-08-21T08:18:52.557" v="17418"/>
          <ac:spMkLst>
            <pc:docMk/>
            <pc:sldMk cId="167908758" sldId="2147479615"/>
            <ac:spMk id="27" creationId="{44676115-3CB5-EBC7-B0DD-5E024840465D}"/>
          </ac:spMkLst>
        </pc:spChg>
        <pc:spChg chg="add del mod">
          <ac:chgData name="Srivaths Swaminathan" userId="fab820a8-d04c-4fb7-bc62-495e227921e9" providerId="ADAL" clId="{7BA84AA0-DF91-44A9-A18C-3379702B0E32}" dt="2023-08-23T15:42:38.948" v="22955" actId="478"/>
          <ac:spMkLst>
            <pc:docMk/>
            <pc:sldMk cId="167908758" sldId="2147479615"/>
            <ac:spMk id="28" creationId="{1A17C5A7-735B-F321-CBB6-711EC22FDFE9}"/>
          </ac:spMkLst>
        </pc:spChg>
        <pc:spChg chg="add del mod modVis">
          <ac:chgData name="Srivaths Swaminathan" userId="fab820a8-d04c-4fb7-bc62-495e227921e9" providerId="ADAL" clId="{7BA84AA0-DF91-44A9-A18C-3379702B0E32}" dt="2023-08-21T08:18:53.366" v="17447"/>
          <ac:spMkLst>
            <pc:docMk/>
            <pc:sldMk cId="167908758" sldId="2147479615"/>
            <ac:spMk id="28" creationId="{CCE8DC7C-0EFF-9BFB-F327-37C14559CBF7}"/>
          </ac:spMkLst>
        </pc:spChg>
        <pc:spChg chg="add del mod modVis">
          <ac:chgData name="Srivaths Swaminathan" userId="fab820a8-d04c-4fb7-bc62-495e227921e9" providerId="ADAL" clId="{7BA84AA0-DF91-44A9-A18C-3379702B0E32}" dt="2023-08-21T08:20:39.985" v="17475"/>
          <ac:spMkLst>
            <pc:docMk/>
            <pc:sldMk cId="167908758" sldId="2147479615"/>
            <ac:spMk id="29" creationId="{B8DDB2DE-BCA1-8105-0A29-3639A0E4D563}"/>
          </ac:spMkLst>
        </pc:spChg>
        <pc:spChg chg="add del mod modVis">
          <ac:chgData name="Srivaths Swaminathan" userId="fab820a8-d04c-4fb7-bc62-495e227921e9" providerId="ADAL" clId="{7BA84AA0-DF91-44A9-A18C-3379702B0E32}" dt="2023-08-21T08:26:50.531" v="18180"/>
          <ac:spMkLst>
            <pc:docMk/>
            <pc:sldMk cId="167908758" sldId="2147479615"/>
            <ac:spMk id="30" creationId="{9B88B288-B345-6941-6390-575E6638529D}"/>
          </ac:spMkLst>
        </pc:spChg>
        <pc:spChg chg="add del mod modVis">
          <ac:chgData name="Srivaths Swaminathan" userId="fab820a8-d04c-4fb7-bc62-495e227921e9" providerId="ADAL" clId="{7BA84AA0-DF91-44A9-A18C-3379702B0E32}" dt="2023-08-21T08:43:21.906" v="18492"/>
          <ac:spMkLst>
            <pc:docMk/>
            <pc:sldMk cId="167908758" sldId="2147479615"/>
            <ac:spMk id="31" creationId="{782B3268-800B-8BBE-4D0C-22144A2D5076}"/>
          </ac:spMkLst>
        </pc:spChg>
        <pc:spChg chg="add mod">
          <ac:chgData name="Srivaths Swaminathan" userId="fab820a8-d04c-4fb7-bc62-495e227921e9" providerId="ADAL" clId="{7BA84AA0-DF91-44A9-A18C-3379702B0E32}" dt="2023-08-23T16:16:40.532" v="23978" actId="20577"/>
          <ac:spMkLst>
            <pc:docMk/>
            <pc:sldMk cId="167908758" sldId="2147479615"/>
            <ac:spMk id="31" creationId="{ACB3FBD2-152A-5246-9742-D0EDAFE48BA3}"/>
          </ac:spMkLst>
        </pc:spChg>
        <pc:spChg chg="add mod">
          <ac:chgData name="Srivaths Swaminathan" userId="fab820a8-d04c-4fb7-bc62-495e227921e9" providerId="ADAL" clId="{7BA84AA0-DF91-44A9-A18C-3379702B0E32}" dt="2023-08-24T11:24:07.572" v="26486" actId="14100"/>
          <ac:spMkLst>
            <pc:docMk/>
            <pc:sldMk cId="167908758" sldId="2147479615"/>
            <ac:spMk id="32" creationId="{CD99261B-1EB7-DED8-F8AB-0EE58C5FBC3B}"/>
          </ac:spMkLst>
        </pc:spChg>
        <pc:spChg chg="add del mod modVis">
          <ac:chgData name="Srivaths Swaminathan" userId="fab820a8-d04c-4fb7-bc62-495e227921e9" providerId="ADAL" clId="{7BA84AA0-DF91-44A9-A18C-3379702B0E32}" dt="2023-08-21T08:43:23.404" v="18522"/>
          <ac:spMkLst>
            <pc:docMk/>
            <pc:sldMk cId="167908758" sldId="2147479615"/>
            <ac:spMk id="32" creationId="{E7AEFD0D-1D43-0E8B-9961-7A9D70B7C62E}"/>
          </ac:spMkLst>
        </pc:spChg>
        <pc:spChg chg="del">
          <ac:chgData name="Srivaths Swaminathan" userId="fab820a8-d04c-4fb7-bc62-495e227921e9" providerId="ADAL" clId="{7BA84AA0-DF91-44A9-A18C-3379702B0E32}" dt="2023-08-17T18:28:16.422" v="10798" actId="478"/>
          <ac:spMkLst>
            <pc:docMk/>
            <pc:sldMk cId="167908758" sldId="2147479615"/>
            <ac:spMk id="34" creationId="{30675641-2D6C-4F51-30D9-ED649298C9D6}"/>
          </ac:spMkLst>
        </pc:spChg>
        <pc:spChg chg="add del mod modVis">
          <ac:chgData name="Srivaths Swaminathan" userId="fab820a8-d04c-4fb7-bc62-495e227921e9" providerId="ADAL" clId="{7BA84AA0-DF91-44A9-A18C-3379702B0E32}" dt="2023-08-21T08:43:26.709" v="18552"/>
          <ac:spMkLst>
            <pc:docMk/>
            <pc:sldMk cId="167908758" sldId="2147479615"/>
            <ac:spMk id="34" creationId="{D97B284F-9D06-D526-72D1-83352EEB487F}"/>
          </ac:spMkLst>
        </pc:spChg>
        <pc:spChg chg="del">
          <ac:chgData name="Srivaths Swaminathan" userId="fab820a8-d04c-4fb7-bc62-495e227921e9" providerId="ADAL" clId="{7BA84AA0-DF91-44A9-A18C-3379702B0E32}" dt="2023-08-17T18:28:16.422" v="10798" actId="478"/>
          <ac:spMkLst>
            <pc:docMk/>
            <pc:sldMk cId="167908758" sldId="2147479615"/>
            <ac:spMk id="35" creationId="{4FD9C2C1-D7EF-DAA4-4BE5-F1CC154FD9F2}"/>
          </ac:spMkLst>
        </pc:spChg>
        <pc:spChg chg="add del mod modVis">
          <ac:chgData name="Srivaths Swaminathan" userId="fab820a8-d04c-4fb7-bc62-495e227921e9" providerId="ADAL" clId="{7BA84AA0-DF91-44A9-A18C-3379702B0E32}" dt="2023-08-21T08:43:28.534" v="18590"/>
          <ac:spMkLst>
            <pc:docMk/>
            <pc:sldMk cId="167908758" sldId="2147479615"/>
            <ac:spMk id="35" creationId="{92C6B248-C34F-B92E-5B07-C74608DDAF35}"/>
          </ac:spMkLst>
        </pc:spChg>
        <pc:spChg chg="add del mod modVis">
          <ac:chgData name="Srivaths Swaminathan" userId="fab820a8-d04c-4fb7-bc62-495e227921e9" providerId="ADAL" clId="{7BA84AA0-DF91-44A9-A18C-3379702B0E32}" dt="2023-08-21T08:43:31.871" v="18628"/>
          <ac:spMkLst>
            <pc:docMk/>
            <pc:sldMk cId="167908758" sldId="2147479615"/>
            <ac:spMk id="36" creationId="{670ECBF1-E704-0E98-E8A1-CBD7B13E92DF}"/>
          </ac:spMkLst>
        </pc:spChg>
        <pc:spChg chg="add del mod modVis">
          <ac:chgData name="Srivaths Swaminathan" userId="fab820a8-d04c-4fb7-bc62-495e227921e9" providerId="ADAL" clId="{7BA84AA0-DF91-44A9-A18C-3379702B0E32}" dt="2023-08-21T08:43:33.666" v="18656"/>
          <ac:spMkLst>
            <pc:docMk/>
            <pc:sldMk cId="167908758" sldId="2147479615"/>
            <ac:spMk id="37" creationId="{90F56D67-6DD3-D7AA-029F-92DB9E9748E8}"/>
          </ac:spMkLst>
        </pc:spChg>
        <pc:spChg chg="add del mod modVis">
          <ac:chgData name="Srivaths Swaminathan" userId="fab820a8-d04c-4fb7-bc62-495e227921e9" providerId="ADAL" clId="{7BA84AA0-DF91-44A9-A18C-3379702B0E32}" dt="2023-08-21T08:43:35.601" v="18693"/>
          <ac:spMkLst>
            <pc:docMk/>
            <pc:sldMk cId="167908758" sldId="2147479615"/>
            <ac:spMk id="38" creationId="{9C99452E-5A52-5FDE-43D3-26CD73D7EB5A}"/>
          </ac:spMkLst>
        </pc:spChg>
        <pc:spChg chg="add del mod modVis">
          <ac:chgData name="Srivaths Swaminathan" userId="fab820a8-d04c-4fb7-bc62-495e227921e9" providerId="ADAL" clId="{7BA84AA0-DF91-44A9-A18C-3379702B0E32}" dt="2023-08-21T08:44:08.705" v="18721"/>
          <ac:spMkLst>
            <pc:docMk/>
            <pc:sldMk cId="167908758" sldId="2147479615"/>
            <ac:spMk id="39" creationId="{41C49F31-42A4-1677-28AF-D82E22DB62FA}"/>
          </ac:spMkLst>
        </pc:spChg>
        <pc:spChg chg="add del mod modVis">
          <ac:chgData name="Srivaths Swaminathan" userId="fab820a8-d04c-4fb7-bc62-495e227921e9" providerId="ADAL" clId="{7BA84AA0-DF91-44A9-A18C-3379702B0E32}" dt="2023-08-21T08:44:10.602" v="18758"/>
          <ac:spMkLst>
            <pc:docMk/>
            <pc:sldMk cId="167908758" sldId="2147479615"/>
            <ac:spMk id="40" creationId="{AD691B82-C971-62D2-C7B7-AF1BBFCFEC1C}"/>
          </ac:spMkLst>
        </pc:spChg>
        <pc:spChg chg="add del mod modVis">
          <ac:chgData name="Srivaths Swaminathan" userId="fab820a8-d04c-4fb7-bc62-495e227921e9" providerId="ADAL" clId="{7BA84AA0-DF91-44A9-A18C-3379702B0E32}" dt="2023-08-21T08:44:11.523" v="18786"/>
          <ac:spMkLst>
            <pc:docMk/>
            <pc:sldMk cId="167908758" sldId="2147479615"/>
            <ac:spMk id="41" creationId="{5CBBD2E9-CB3C-3B69-82D7-7F7F54A14FD8}"/>
          </ac:spMkLst>
        </pc:spChg>
        <pc:spChg chg="add del mod modVis">
          <ac:chgData name="Srivaths Swaminathan" userId="fab820a8-d04c-4fb7-bc62-495e227921e9" providerId="ADAL" clId="{7BA84AA0-DF91-44A9-A18C-3379702B0E32}" dt="2023-08-21T08:44:18.807" v="18818"/>
          <ac:spMkLst>
            <pc:docMk/>
            <pc:sldMk cId="167908758" sldId="2147479615"/>
            <ac:spMk id="42" creationId="{1193201A-FD63-ECC3-68E6-74226487BE0A}"/>
          </ac:spMkLst>
        </pc:spChg>
        <pc:spChg chg="add del mod modVis">
          <ac:chgData name="Srivaths Swaminathan" userId="fab820a8-d04c-4fb7-bc62-495e227921e9" providerId="ADAL" clId="{7BA84AA0-DF91-44A9-A18C-3379702B0E32}" dt="2023-08-21T08:44:25.284" v="18850"/>
          <ac:spMkLst>
            <pc:docMk/>
            <pc:sldMk cId="167908758" sldId="2147479615"/>
            <ac:spMk id="43" creationId="{5D7FEF0D-51DC-AD2B-5DD4-B9BF45372C03}"/>
          </ac:spMkLst>
        </pc:spChg>
        <pc:spChg chg="add del mod modVis">
          <ac:chgData name="Srivaths Swaminathan" userId="fab820a8-d04c-4fb7-bc62-495e227921e9" providerId="ADAL" clId="{7BA84AA0-DF91-44A9-A18C-3379702B0E32}" dt="2023-08-21T08:44:34.793" v="18879"/>
          <ac:spMkLst>
            <pc:docMk/>
            <pc:sldMk cId="167908758" sldId="2147479615"/>
            <ac:spMk id="44" creationId="{70F4BE8A-4E33-7405-74F7-8349324733F6}"/>
          </ac:spMkLst>
        </pc:spChg>
        <pc:spChg chg="add del mod modVis">
          <ac:chgData name="Srivaths Swaminathan" userId="fab820a8-d04c-4fb7-bc62-495e227921e9" providerId="ADAL" clId="{7BA84AA0-DF91-44A9-A18C-3379702B0E32}" dt="2023-08-21T08:44:38.128" v="18918"/>
          <ac:spMkLst>
            <pc:docMk/>
            <pc:sldMk cId="167908758" sldId="2147479615"/>
            <ac:spMk id="45" creationId="{EF0326B1-58B5-D52D-8694-2B404A1C2318}"/>
          </ac:spMkLst>
        </pc:spChg>
        <pc:spChg chg="add del mod modVis">
          <ac:chgData name="Srivaths Swaminathan" userId="fab820a8-d04c-4fb7-bc62-495e227921e9" providerId="ADAL" clId="{7BA84AA0-DF91-44A9-A18C-3379702B0E32}" dt="2023-08-21T08:44:39.804" v="18952"/>
          <ac:spMkLst>
            <pc:docMk/>
            <pc:sldMk cId="167908758" sldId="2147479615"/>
            <ac:spMk id="46" creationId="{E6768B74-EBD3-8469-2AA7-A27A8289837F}"/>
          </ac:spMkLst>
        </pc:spChg>
        <pc:spChg chg="add del mod modVis">
          <ac:chgData name="Srivaths Swaminathan" userId="fab820a8-d04c-4fb7-bc62-495e227921e9" providerId="ADAL" clId="{7BA84AA0-DF91-44A9-A18C-3379702B0E32}" dt="2023-08-21T08:44:41.252" v="18985"/>
          <ac:spMkLst>
            <pc:docMk/>
            <pc:sldMk cId="167908758" sldId="2147479615"/>
            <ac:spMk id="47" creationId="{1F52DF0B-D0BD-A7C7-E205-AB8D1A101E12}"/>
          </ac:spMkLst>
        </pc:spChg>
        <pc:spChg chg="add del mod modVis">
          <ac:chgData name="Srivaths Swaminathan" userId="fab820a8-d04c-4fb7-bc62-495e227921e9" providerId="ADAL" clId="{7BA84AA0-DF91-44A9-A18C-3379702B0E32}" dt="2023-08-21T08:44:43.737" v="19027"/>
          <ac:spMkLst>
            <pc:docMk/>
            <pc:sldMk cId="167908758" sldId="2147479615"/>
            <ac:spMk id="48" creationId="{A3B140EE-64B3-B1D0-9BDE-DEC394D1040E}"/>
          </ac:spMkLst>
        </pc:spChg>
        <pc:spChg chg="add del mod modVis">
          <ac:chgData name="Srivaths Swaminathan" userId="fab820a8-d04c-4fb7-bc62-495e227921e9" providerId="ADAL" clId="{7BA84AA0-DF91-44A9-A18C-3379702B0E32}" dt="2023-08-21T08:44:46.475" v="19071"/>
          <ac:spMkLst>
            <pc:docMk/>
            <pc:sldMk cId="167908758" sldId="2147479615"/>
            <ac:spMk id="49" creationId="{5318CEB8-B1D9-99F4-8371-D5122CD2D01B}"/>
          </ac:spMkLst>
        </pc:spChg>
        <pc:spChg chg="add del mod modVis">
          <ac:chgData name="Srivaths Swaminathan" userId="fab820a8-d04c-4fb7-bc62-495e227921e9" providerId="ADAL" clId="{7BA84AA0-DF91-44A9-A18C-3379702B0E32}" dt="2023-08-21T08:44:50.148" v="19100"/>
          <ac:spMkLst>
            <pc:docMk/>
            <pc:sldMk cId="167908758" sldId="2147479615"/>
            <ac:spMk id="50" creationId="{EF2A6681-B34E-B963-6775-A201B0C80FAC}"/>
          </ac:spMkLst>
        </pc:spChg>
        <pc:spChg chg="add del mod modVis">
          <ac:chgData name="Srivaths Swaminathan" userId="fab820a8-d04c-4fb7-bc62-495e227921e9" providerId="ADAL" clId="{7BA84AA0-DF91-44A9-A18C-3379702B0E32}" dt="2023-08-21T08:44:54.881" v="19152"/>
          <ac:spMkLst>
            <pc:docMk/>
            <pc:sldMk cId="167908758" sldId="2147479615"/>
            <ac:spMk id="51" creationId="{3B9D1967-33AC-08C4-7B5D-9BC709990124}"/>
          </ac:spMkLst>
        </pc:spChg>
        <pc:spChg chg="add del mod modVis">
          <ac:chgData name="Srivaths Swaminathan" userId="fab820a8-d04c-4fb7-bc62-495e227921e9" providerId="ADAL" clId="{7BA84AA0-DF91-44A9-A18C-3379702B0E32}" dt="2023-08-21T08:44:56.418" v="19183"/>
          <ac:spMkLst>
            <pc:docMk/>
            <pc:sldMk cId="167908758" sldId="2147479615"/>
            <ac:spMk id="52" creationId="{48AE44EF-C15B-7943-5E0D-D42002CF0E29}"/>
          </ac:spMkLst>
        </pc:spChg>
        <pc:spChg chg="add del mod modVis">
          <ac:chgData name="Srivaths Swaminathan" userId="fab820a8-d04c-4fb7-bc62-495e227921e9" providerId="ADAL" clId="{7BA84AA0-DF91-44A9-A18C-3379702B0E32}" dt="2023-08-21T08:44:59.593" v="19221"/>
          <ac:spMkLst>
            <pc:docMk/>
            <pc:sldMk cId="167908758" sldId="2147479615"/>
            <ac:spMk id="53" creationId="{107009BB-2094-B1A2-D918-5EBC33716A62}"/>
          </ac:spMkLst>
        </pc:spChg>
        <pc:spChg chg="add del mod modVis">
          <ac:chgData name="Srivaths Swaminathan" userId="fab820a8-d04c-4fb7-bc62-495e227921e9" providerId="ADAL" clId="{7BA84AA0-DF91-44A9-A18C-3379702B0E32}" dt="2023-08-21T08:45:00.673" v="19252"/>
          <ac:spMkLst>
            <pc:docMk/>
            <pc:sldMk cId="167908758" sldId="2147479615"/>
            <ac:spMk id="54" creationId="{51E8BD0E-5F15-942C-E262-0EED70220182}"/>
          </ac:spMkLst>
        </pc:spChg>
        <pc:spChg chg="add del mod modVis">
          <ac:chgData name="Srivaths Swaminathan" userId="fab820a8-d04c-4fb7-bc62-495e227921e9" providerId="ADAL" clId="{7BA84AA0-DF91-44A9-A18C-3379702B0E32}" dt="2023-08-21T08:45:01.488" v="19282"/>
          <ac:spMkLst>
            <pc:docMk/>
            <pc:sldMk cId="167908758" sldId="2147479615"/>
            <ac:spMk id="55" creationId="{4CA1A710-187D-CD13-D2A1-135CDC3C7C64}"/>
          </ac:spMkLst>
        </pc:spChg>
        <pc:spChg chg="add del mod modVis">
          <ac:chgData name="Srivaths Swaminathan" userId="fab820a8-d04c-4fb7-bc62-495e227921e9" providerId="ADAL" clId="{7BA84AA0-DF91-44A9-A18C-3379702B0E32}" dt="2023-08-21T08:45:06.934" v="19310"/>
          <ac:spMkLst>
            <pc:docMk/>
            <pc:sldMk cId="167908758" sldId="2147479615"/>
            <ac:spMk id="56" creationId="{FD2B1F86-19FA-5A54-0F99-43B384388C04}"/>
          </ac:spMkLst>
        </pc:spChg>
        <pc:spChg chg="add del mod modVis">
          <ac:chgData name="Srivaths Swaminathan" userId="fab820a8-d04c-4fb7-bc62-495e227921e9" providerId="ADAL" clId="{7BA84AA0-DF91-44A9-A18C-3379702B0E32}" dt="2023-08-21T08:45:15.227" v="19338"/>
          <ac:spMkLst>
            <pc:docMk/>
            <pc:sldMk cId="167908758" sldId="2147479615"/>
            <ac:spMk id="57" creationId="{8200A840-0721-6249-CB1D-59E0E0F81342}"/>
          </ac:spMkLst>
        </pc:spChg>
        <pc:spChg chg="add del mod modVis">
          <ac:chgData name="Srivaths Swaminathan" userId="fab820a8-d04c-4fb7-bc62-495e227921e9" providerId="ADAL" clId="{7BA84AA0-DF91-44A9-A18C-3379702B0E32}" dt="2023-08-21T08:45:50.200" v="19366"/>
          <ac:spMkLst>
            <pc:docMk/>
            <pc:sldMk cId="167908758" sldId="2147479615"/>
            <ac:spMk id="58" creationId="{A301A996-2218-4552-A1BF-231CC6523D42}"/>
          </ac:spMkLst>
        </pc:spChg>
        <pc:spChg chg="add del mod modVis">
          <ac:chgData name="Srivaths Swaminathan" userId="fab820a8-d04c-4fb7-bc62-495e227921e9" providerId="ADAL" clId="{7BA84AA0-DF91-44A9-A18C-3379702B0E32}" dt="2023-08-21T08:45:55.358" v="19394"/>
          <ac:spMkLst>
            <pc:docMk/>
            <pc:sldMk cId="167908758" sldId="2147479615"/>
            <ac:spMk id="59" creationId="{AE6B7F20-1E57-CF27-6FEE-F2FF9E419BC8}"/>
          </ac:spMkLst>
        </pc:spChg>
        <pc:spChg chg="add del mod modVis">
          <ac:chgData name="Srivaths Swaminathan" userId="fab820a8-d04c-4fb7-bc62-495e227921e9" providerId="ADAL" clId="{7BA84AA0-DF91-44A9-A18C-3379702B0E32}" dt="2023-08-21T08:46:17.545" v="19422"/>
          <ac:spMkLst>
            <pc:docMk/>
            <pc:sldMk cId="167908758" sldId="2147479615"/>
            <ac:spMk id="60" creationId="{2072D6A6-0E9B-FF06-1DAF-27B082F976FE}"/>
          </ac:spMkLst>
        </pc:spChg>
        <pc:grpChg chg="add del mod">
          <ac:chgData name="Srivaths Swaminathan" userId="fab820a8-d04c-4fb7-bc62-495e227921e9" providerId="ADAL" clId="{7BA84AA0-DF91-44A9-A18C-3379702B0E32}" dt="2023-08-23T15:43:59.738" v="22977" actId="165"/>
          <ac:grpSpMkLst>
            <pc:docMk/>
            <pc:sldMk cId="167908758" sldId="2147479615"/>
            <ac:grpSpMk id="3" creationId="{9450E619-F3B0-9FCF-D0F8-0D141F6F464D}"/>
          </ac:grpSpMkLst>
        </pc:grpChg>
        <pc:grpChg chg="del mod">
          <ac:chgData name="Srivaths Swaminathan" userId="fab820a8-d04c-4fb7-bc62-495e227921e9" providerId="ADAL" clId="{7BA84AA0-DF91-44A9-A18C-3379702B0E32}" dt="2023-08-18T16:02:06.715" v="14872" actId="478"/>
          <ac:grpSpMkLst>
            <pc:docMk/>
            <pc:sldMk cId="167908758" sldId="2147479615"/>
            <ac:grpSpMk id="4" creationId="{2507B228-6797-2A1F-9A51-8A880CE4EA58}"/>
          </ac:grpSpMkLst>
        </pc:grpChg>
        <pc:grpChg chg="add del mod">
          <ac:chgData name="Srivaths Swaminathan" userId="fab820a8-d04c-4fb7-bc62-495e227921e9" providerId="ADAL" clId="{7BA84AA0-DF91-44A9-A18C-3379702B0E32}" dt="2023-08-23T15:43:10.151" v="22972" actId="165"/>
          <ac:grpSpMkLst>
            <pc:docMk/>
            <pc:sldMk cId="167908758" sldId="2147479615"/>
            <ac:grpSpMk id="7" creationId="{4E7C418A-3FDA-F0AF-0A1A-DEDD6FB2B723}"/>
          </ac:grpSpMkLst>
        </pc:grpChg>
        <pc:grpChg chg="add del mod">
          <ac:chgData name="Srivaths Swaminathan" userId="fab820a8-d04c-4fb7-bc62-495e227921e9" providerId="ADAL" clId="{7BA84AA0-DF91-44A9-A18C-3379702B0E32}" dt="2023-08-23T15:43:30.350" v="22974" actId="165"/>
          <ac:grpSpMkLst>
            <pc:docMk/>
            <pc:sldMk cId="167908758" sldId="2147479615"/>
            <ac:grpSpMk id="11" creationId="{6645FC49-0DCB-212B-A478-4625152D9B0D}"/>
          </ac:grpSpMkLst>
        </pc:grpChg>
        <pc:grpChg chg="del mod topLvl">
          <ac:chgData name="Srivaths Swaminathan" userId="fab820a8-d04c-4fb7-bc62-495e227921e9" providerId="ADAL" clId="{7BA84AA0-DF91-44A9-A18C-3379702B0E32}" dt="2023-08-23T15:43:52.284" v="22976" actId="165"/>
          <ac:grpSpMkLst>
            <pc:docMk/>
            <pc:sldMk cId="167908758" sldId="2147479615"/>
            <ac:grpSpMk id="12" creationId="{01634ABB-F845-C82D-A623-6DC61C7334EE}"/>
          </ac:grpSpMkLst>
        </pc:grpChg>
        <pc:grpChg chg="add del mod">
          <ac:chgData name="Srivaths Swaminathan" userId="fab820a8-d04c-4fb7-bc62-495e227921e9" providerId="ADAL" clId="{7BA84AA0-DF91-44A9-A18C-3379702B0E32}" dt="2023-08-17T18:47:53.558" v="12069" actId="165"/>
          <ac:grpSpMkLst>
            <pc:docMk/>
            <pc:sldMk cId="167908758" sldId="2147479615"/>
            <ac:grpSpMk id="16" creationId="{771F131F-173F-7B27-E677-C2487A5A897B}"/>
          </ac:grpSpMkLst>
        </pc:grpChg>
        <pc:grpChg chg="del mod topLvl">
          <ac:chgData name="Srivaths Swaminathan" userId="fab820a8-d04c-4fb7-bc62-495e227921e9" providerId="ADAL" clId="{7BA84AA0-DF91-44A9-A18C-3379702B0E32}" dt="2023-08-17T18:48:04.023" v="12070" actId="478"/>
          <ac:grpSpMkLst>
            <pc:docMk/>
            <pc:sldMk cId="167908758" sldId="2147479615"/>
            <ac:grpSpMk id="17" creationId="{9A77847D-4D88-A342-709F-1F482B4CDDB2}"/>
          </ac:grpSpMkLst>
        </pc:grpChg>
        <pc:graphicFrameChg chg="del">
          <ac:chgData name="Srivaths Swaminathan" userId="fab820a8-d04c-4fb7-bc62-495e227921e9" providerId="ADAL" clId="{7BA84AA0-DF91-44A9-A18C-3379702B0E32}" dt="2023-08-17T18:28:16.422" v="10798" actId="478"/>
          <ac:graphicFrameMkLst>
            <pc:docMk/>
            <pc:sldMk cId="167908758" sldId="2147479615"/>
            <ac:graphicFrameMk id="4" creationId="{98C3C474-6302-226C-ED97-94625F41E4E9}"/>
          </ac:graphicFrameMkLst>
        </pc:graphicFrameChg>
        <pc:graphicFrameChg chg="add mod modGraphic">
          <ac:chgData name="Srivaths Swaminathan" userId="fab820a8-d04c-4fb7-bc62-495e227921e9" providerId="ADAL" clId="{7BA84AA0-DF91-44A9-A18C-3379702B0E32}" dt="2023-08-25T09:32:01.326" v="26787" actId="20577"/>
          <ac:graphicFrameMkLst>
            <pc:docMk/>
            <pc:sldMk cId="167908758" sldId="2147479615"/>
            <ac:graphicFrameMk id="27" creationId="{20F560F2-A636-FE30-A89D-8BE72E136B3B}"/>
          </ac:graphicFrameMkLst>
        </pc:graphicFrameChg>
        <pc:graphicFrameChg chg="mod">
          <ac:chgData name="Srivaths Swaminathan" userId="fab820a8-d04c-4fb7-bc62-495e227921e9" providerId="ADAL" clId="{7BA84AA0-DF91-44A9-A18C-3379702B0E32}" dt="2023-08-23T11:29:58.160" v="22010"/>
          <ac:graphicFrameMkLst>
            <pc:docMk/>
            <pc:sldMk cId="167908758" sldId="2147479615"/>
            <ac:graphicFrameMk id="33" creationId="{0BC2B17D-F58E-9720-CE62-9A04EBC4E8F8}"/>
          </ac:graphicFrameMkLst>
        </pc:graphicFrameChg>
        <pc:picChg chg="del mod">
          <ac:chgData name="Srivaths Swaminathan" userId="fab820a8-d04c-4fb7-bc62-495e227921e9" providerId="ADAL" clId="{7BA84AA0-DF91-44A9-A18C-3379702B0E32}" dt="2023-08-18T16:02:06.715" v="14872" actId="478"/>
          <ac:picMkLst>
            <pc:docMk/>
            <pc:sldMk cId="167908758" sldId="2147479615"/>
            <ac:picMk id="6" creationId="{11DCFE3E-7EC8-6136-3F2E-6F473C814230}"/>
          </ac:picMkLst>
        </pc:picChg>
        <pc:picChg chg="mod topLvl">
          <ac:chgData name="Srivaths Swaminathan" userId="fab820a8-d04c-4fb7-bc62-495e227921e9" providerId="ADAL" clId="{7BA84AA0-DF91-44A9-A18C-3379702B0E32}" dt="2023-08-24T11:23:36.470" v="26484" actId="1035"/>
          <ac:picMkLst>
            <pc:docMk/>
            <pc:sldMk cId="167908758" sldId="2147479615"/>
            <ac:picMk id="8" creationId="{4C791BE3-54F5-2472-913F-350BF9B387EE}"/>
          </ac:picMkLst>
        </pc:picChg>
        <pc:picChg chg="mod topLvl">
          <ac:chgData name="Srivaths Swaminathan" userId="fab820a8-d04c-4fb7-bc62-495e227921e9" providerId="ADAL" clId="{7BA84AA0-DF91-44A9-A18C-3379702B0E32}" dt="2023-08-24T11:23:36.470" v="26484" actId="1035"/>
          <ac:picMkLst>
            <pc:docMk/>
            <pc:sldMk cId="167908758" sldId="2147479615"/>
            <ac:picMk id="14" creationId="{975D6797-4721-8C9A-5FD9-2CC9EA504282}"/>
          </ac:picMkLst>
        </pc:picChg>
        <pc:picChg chg="del mod topLvl">
          <ac:chgData name="Srivaths Swaminathan" userId="fab820a8-d04c-4fb7-bc62-495e227921e9" providerId="ADAL" clId="{7BA84AA0-DF91-44A9-A18C-3379702B0E32}" dt="2023-08-17T18:48:04.023" v="12070" actId="478"/>
          <ac:picMkLst>
            <pc:docMk/>
            <pc:sldMk cId="167908758" sldId="2147479615"/>
            <ac:picMk id="19" creationId="{08C8720B-D4D6-59B0-12C0-7F82DB78A664}"/>
          </ac:picMkLst>
        </pc:picChg>
        <pc:picChg chg="add del mod">
          <ac:chgData name="Srivaths Swaminathan" userId="fab820a8-d04c-4fb7-bc62-495e227921e9" providerId="ADAL" clId="{7BA84AA0-DF91-44A9-A18C-3379702B0E32}" dt="2023-08-23T15:42:23.757" v="22953" actId="478"/>
          <ac:picMkLst>
            <pc:docMk/>
            <pc:sldMk cId="167908758" sldId="2147479615"/>
            <ac:picMk id="19" creationId="{FB530494-EB7B-FF91-89D3-8A75FF67A09D}"/>
          </ac:picMkLst>
        </pc:picChg>
        <pc:picChg chg="add mod">
          <ac:chgData name="Srivaths Swaminathan" userId="fab820a8-d04c-4fb7-bc62-495e227921e9" providerId="ADAL" clId="{7BA84AA0-DF91-44A9-A18C-3379702B0E32}" dt="2023-08-24T11:23:36.470" v="26484" actId="1035"/>
          <ac:picMkLst>
            <pc:docMk/>
            <pc:sldMk cId="167908758" sldId="2147479615"/>
            <ac:picMk id="24" creationId="{5CC6A005-65A3-2395-CFB5-F4D7BC195752}"/>
          </ac:picMkLst>
        </pc:picChg>
        <pc:picChg chg="add mod">
          <ac:chgData name="Srivaths Swaminathan" userId="fab820a8-d04c-4fb7-bc62-495e227921e9" providerId="ADAL" clId="{7BA84AA0-DF91-44A9-A18C-3379702B0E32}" dt="2023-08-24T11:23:36.470" v="26484" actId="1035"/>
          <ac:picMkLst>
            <pc:docMk/>
            <pc:sldMk cId="167908758" sldId="2147479615"/>
            <ac:picMk id="30" creationId="{700E3E54-6777-2E5A-3B34-CFB5D92D60A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Srivaths Swaminathan" userId="fab820a8-d04c-4fb7-bc62-495e227921e9" providerId="ADAL" clId="{7BA84AA0-DF91-44A9-A18C-3379702B0E32}" dt="2023-08-23T16:12:05.213" v="23866"/>
              <pc2:cmMkLst xmlns:pc2="http://schemas.microsoft.com/office/powerpoint/2019/9/main/command">
                <pc:docMk/>
                <pc:sldMk cId="167908758" sldId="2147479615"/>
                <pc2:cmMk id="{EDCA4803-4B26-41B0-9F40-D17989930E75}"/>
              </pc2:cmMkLst>
            </pc226:cmChg>
            <pc226:cmChg xmlns:pc226="http://schemas.microsoft.com/office/powerpoint/2022/06/main/command" chg="add del">
              <pc226:chgData name="Srivaths Swaminathan" userId="fab820a8-d04c-4fb7-bc62-495e227921e9" providerId="ADAL" clId="{7BA84AA0-DF91-44A9-A18C-3379702B0E32}" dt="2023-08-30T17:10:36.199" v="28717"/>
              <pc2:cmMkLst xmlns:pc2="http://schemas.microsoft.com/office/powerpoint/2019/9/main/command">
                <pc:docMk/>
                <pc:sldMk cId="167908758" sldId="2147479615"/>
                <pc2:cmMk id="{053D505C-8D5C-4E0D-9A2B-F1769B3BF20E}"/>
              </pc2:cmMkLst>
            </pc226:cmChg>
            <pc226:cmChg xmlns:pc226="http://schemas.microsoft.com/office/powerpoint/2022/06/main/command" chg="add mod modTsk">
              <pc226:chgData name="Srivaths Swaminathan" userId="fab820a8-d04c-4fb7-bc62-495e227921e9" providerId="ADAL" clId="{7BA84AA0-DF91-44A9-A18C-3379702B0E32}" dt="2023-08-31T15:03:44.155" v="28927"/>
              <pc2:cmMkLst xmlns:pc2="http://schemas.microsoft.com/office/powerpoint/2019/9/main/command">
                <pc:docMk/>
                <pc:sldMk cId="167908758" sldId="2147479615"/>
                <pc2:cmMk id="{EA33075D-3A01-4A10-8D73-8C9EB3D4FEF0}"/>
              </pc2:cmMkLst>
              <pc226:cmRplyChg chg="add">
                <pc226:chgData name="Srivaths Swaminathan" userId="fab820a8-d04c-4fb7-bc62-495e227921e9" providerId="ADAL" clId="{7BA84AA0-DF91-44A9-A18C-3379702B0E32}" dt="2023-08-31T15:03:44.155" v="28927"/>
                <pc2:cmRplyMkLst xmlns:pc2="http://schemas.microsoft.com/office/powerpoint/2019/9/main/command">
                  <pc:docMk/>
                  <pc:sldMk cId="167908758" sldId="2147479615"/>
                  <pc2:cmMk id="{EA33075D-3A01-4A10-8D73-8C9EB3D4FEF0}"/>
                  <pc2:cmRplyMk id="{9C9D65F0-557D-4D99-BFB5-B9610E1FF785}"/>
                </pc2:cmRplyMkLst>
              </pc226:cmRplyChg>
            </pc226:cmChg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8:23:43.698" v="25788"/>
              <pc2:cmMkLst xmlns:pc2="http://schemas.microsoft.com/office/powerpoint/2019/9/main/command">
                <pc:docMk/>
                <pc:sldMk cId="167908758" sldId="2147479615"/>
                <pc2:cmMk id="{00533AC0-C661-43C2-87EE-382BC877D2BE}"/>
              </pc2:cmMkLst>
            </pc226:cmChg>
            <pc226:cmChg xmlns:pc226="http://schemas.microsoft.com/office/powerpoint/2022/06/main/command" chg="add del mod">
              <pc226:chgData name="Srivaths Swaminathan" userId="fab820a8-d04c-4fb7-bc62-495e227921e9" providerId="ADAL" clId="{7BA84AA0-DF91-44A9-A18C-3379702B0E32}" dt="2023-08-30T17:10:39.945" v="28718"/>
              <pc2:cmMkLst xmlns:pc2="http://schemas.microsoft.com/office/powerpoint/2019/9/main/command">
                <pc:docMk/>
                <pc:sldMk cId="167908758" sldId="2147479615"/>
                <pc2:cmMk id="{CD598BCE-7135-492C-9BF6-FD415E95F433}"/>
              </pc2:cmMkLst>
            </pc226:cmChg>
          </p:ext>
        </pc:extLst>
      </pc:sldChg>
      <pc:sldChg chg="addSp delSp modSp add del mod ord delCm modCm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098155061" sldId="2147479616"/>
        </pc:sldMkLst>
        <pc:spChg chg="mod">
          <ac:chgData name="Srivaths Swaminathan" userId="fab820a8-d04c-4fb7-bc62-495e227921e9" providerId="ADAL" clId="{7BA84AA0-DF91-44A9-A18C-3379702B0E32}" dt="2023-08-18T16:15:01.008" v="15715" actId="1076"/>
          <ac:spMkLst>
            <pc:docMk/>
            <pc:sldMk cId="1098155061" sldId="2147479616"/>
            <ac:spMk id="2" creationId="{A0A539C7-696A-7DF3-6837-C3696F000047}"/>
          </ac:spMkLst>
        </pc:spChg>
        <pc:spChg chg="add del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" creationId="{5ED6C8A5-FD0C-E265-84A2-47E65A1B8275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4" creationId="{88200F8F-B90B-3AEF-EC9E-717DBEFBACD6}"/>
          </ac:spMkLst>
        </pc:spChg>
        <pc:spChg chg="add del mod modVis">
          <ac:chgData name="Srivaths Swaminathan" userId="fab820a8-d04c-4fb7-bc62-495e227921e9" providerId="ADAL" clId="{7BA84AA0-DF91-44A9-A18C-3379702B0E32}" dt="2023-08-17T18:41:45.956" v="11793"/>
          <ac:spMkLst>
            <pc:docMk/>
            <pc:sldMk cId="1098155061" sldId="2147479616"/>
            <ac:spMk id="5" creationId="{ACC78775-B4B9-F547-A567-DCD3C98FCAC6}"/>
          </ac:spMkLst>
        </pc:spChg>
        <pc:spChg chg="add del mod modVis">
          <ac:chgData name="Srivaths Swaminathan" userId="fab820a8-d04c-4fb7-bc62-495e227921e9" providerId="ADAL" clId="{7BA84AA0-DF91-44A9-A18C-3379702B0E32}" dt="2023-08-18T16:15:01.007" v="15713" actId="962"/>
          <ac:spMkLst>
            <pc:docMk/>
            <pc:sldMk cId="1098155061" sldId="2147479616"/>
            <ac:spMk id="5" creationId="{E1B5A924-F539-F147-A43A-EA8356265E02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7" creationId="{485FD7B2-FB92-815C-45F0-FCCA05431D19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8" creationId="{6412EBE6-B8E1-E426-8024-4B16322734CD}"/>
          </ac:spMkLst>
        </pc:spChg>
        <pc:spChg chg="add del mod modVis">
          <ac:chgData name="Srivaths Swaminathan" userId="fab820a8-d04c-4fb7-bc62-495e227921e9" providerId="ADAL" clId="{7BA84AA0-DF91-44A9-A18C-3379702B0E32}" dt="2023-08-17T18:41:49.755" v="11838"/>
          <ac:spMkLst>
            <pc:docMk/>
            <pc:sldMk cId="1098155061" sldId="2147479616"/>
            <ac:spMk id="9" creationId="{742FC4DE-0EC8-ECBA-D663-5A6D7E2AE39F}"/>
          </ac:spMkLst>
        </pc:spChg>
        <pc:spChg chg="add del mod">
          <ac:chgData name="Srivaths Swaminathan" userId="fab820a8-d04c-4fb7-bc62-495e227921e9" providerId="ADAL" clId="{7BA84AA0-DF91-44A9-A18C-3379702B0E32}" dt="2023-08-17T18:49:37.681" v="12093" actId="478"/>
          <ac:spMkLst>
            <pc:docMk/>
            <pc:sldMk cId="1098155061" sldId="2147479616"/>
            <ac:spMk id="10" creationId="{1B7BBC78-63BD-CFE6-3ABA-CA188488139E}"/>
          </ac:spMkLst>
        </pc:spChg>
        <pc:spChg chg="add del mod modVis">
          <ac:chgData name="Srivaths Swaminathan" userId="fab820a8-d04c-4fb7-bc62-495e227921e9" providerId="ADAL" clId="{7BA84AA0-DF91-44A9-A18C-3379702B0E32}" dt="2023-08-17T18:41:51.266" v="11868"/>
          <ac:spMkLst>
            <pc:docMk/>
            <pc:sldMk cId="1098155061" sldId="2147479616"/>
            <ac:spMk id="11" creationId="{DF92FFD5-2EAF-4CE9-C58A-7644950097EE}"/>
          </ac:spMkLst>
        </pc:spChg>
        <pc:spChg chg="add del mod modVis">
          <ac:chgData name="Srivaths Swaminathan" userId="fab820a8-d04c-4fb7-bc62-495e227921e9" providerId="ADAL" clId="{7BA84AA0-DF91-44A9-A18C-3379702B0E32}" dt="2023-08-17T18:41:54.846" v="11918"/>
          <ac:spMkLst>
            <pc:docMk/>
            <pc:sldMk cId="1098155061" sldId="2147479616"/>
            <ac:spMk id="12" creationId="{B3496C9E-DB19-EA0C-1B6E-ED07EEA4072D}"/>
          </ac:spMkLst>
        </pc:spChg>
        <pc:spChg chg="add del mod modVis">
          <ac:chgData name="Srivaths Swaminathan" userId="fab820a8-d04c-4fb7-bc62-495e227921e9" providerId="ADAL" clId="{7BA84AA0-DF91-44A9-A18C-3379702B0E32}" dt="2023-08-17T18:41:58.483" v="11970"/>
          <ac:spMkLst>
            <pc:docMk/>
            <pc:sldMk cId="1098155061" sldId="2147479616"/>
            <ac:spMk id="13" creationId="{F6F3C060-A3BD-7C1C-0723-D8B83743F62B}"/>
          </ac:spMkLst>
        </pc:spChg>
        <pc:spChg chg="del mod">
          <ac:chgData name="Srivaths Swaminathan" userId="fab820a8-d04c-4fb7-bc62-495e227921e9" providerId="ADAL" clId="{7BA84AA0-DF91-44A9-A18C-3379702B0E32}" dt="2023-08-17T18:49:37.681" v="12093" actId="478"/>
          <ac:spMkLst>
            <pc:docMk/>
            <pc:sldMk cId="1098155061" sldId="2147479616"/>
            <ac:spMk id="14" creationId="{574D6408-7C1E-0CC6-E2A9-97388C2DB56D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15" creationId="{1B3B647A-55A4-F415-39AD-FF3A993370A0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16" creationId="{35E08D05-7AD8-F49F-BAC2-1310A91050AE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17" creationId="{7062E827-77F2-F22B-2B14-860AA6809B1E}"/>
          </ac:spMkLst>
        </pc:spChg>
        <pc:spChg chg="add del mod">
          <ac:chgData name="Srivaths Swaminathan" userId="fab820a8-d04c-4fb7-bc62-495e227921e9" providerId="ADAL" clId="{7BA84AA0-DF91-44A9-A18C-3379702B0E32}" dt="2023-08-17T18:51:06.788" v="12127"/>
          <ac:spMkLst>
            <pc:docMk/>
            <pc:sldMk cId="1098155061" sldId="2147479616"/>
            <ac:spMk id="18" creationId="{B7BB324D-03D3-35F7-3312-D4D46D801E03}"/>
          </ac:spMkLst>
        </pc:spChg>
        <pc:spChg chg="add del mod">
          <ac:chgData name="Srivaths Swaminathan" userId="fab820a8-d04c-4fb7-bc62-495e227921e9" providerId="ADAL" clId="{7BA84AA0-DF91-44A9-A18C-3379702B0E32}" dt="2023-08-17T18:51:06.788" v="12127"/>
          <ac:spMkLst>
            <pc:docMk/>
            <pc:sldMk cId="1098155061" sldId="2147479616"/>
            <ac:spMk id="19" creationId="{C0941D05-7865-1EEC-2A5E-DB5A8B2C3886}"/>
          </ac:spMkLst>
        </pc:spChg>
        <pc:spChg chg="add del mod">
          <ac:chgData name="Srivaths Swaminathan" userId="fab820a8-d04c-4fb7-bc62-495e227921e9" providerId="ADAL" clId="{7BA84AA0-DF91-44A9-A18C-3379702B0E32}" dt="2023-08-17T18:51:06.788" v="12127"/>
          <ac:spMkLst>
            <pc:docMk/>
            <pc:sldMk cId="1098155061" sldId="2147479616"/>
            <ac:spMk id="20" creationId="{22A35617-929B-0965-2227-B8F87044F4A2}"/>
          </ac:spMkLst>
        </pc:spChg>
        <pc:spChg chg="add del mod">
          <ac:chgData name="Srivaths Swaminathan" userId="fab820a8-d04c-4fb7-bc62-495e227921e9" providerId="ADAL" clId="{7BA84AA0-DF91-44A9-A18C-3379702B0E32}" dt="2023-08-17T18:51:06.788" v="12127"/>
          <ac:spMkLst>
            <pc:docMk/>
            <pc:sldMk cId="1098155061" sldId="2147479616"/>
            <ac:spMk id="21" creationId="{5BB37FA7-24E3-ED31-05D5-71328C589C69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22" creationId="{6B103AA0-AEC2-6421-4F2A-45341979275A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23" creationId="{5B9AC56B-9744-E608-A840-7437A9352C95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24" creationId="{D26FDA03-C165-AE13-328B-1E2C148FA5F1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25" creationId="{E643EA8A-E312-5430-4907-8F5417826CF0}"/>
          </ac:spMkLst>
        </pc:spChg>
        <pc:spChg chg="add del mod">
          <ac:chgData name="Srivaths Swaminathan" userId="fab820a8-d04c-4fb7-bc62-495e227921e9" providerId="ADAL" clId="{7BA84AA0-DF91-44A9-A18C-3379702B0E32}" dt="2023-08-17T18:51:55.472" v="12347"/>
          <ac:spMkLst>
            <pc:docMk/>
            <pc:sldMk cId="1098155061" sldId="2147479616"/>
            <ac:spMk id="26" creationId="{999D57F0-2DF8-C57A-84EC-C89FA60BD3EE}"/>
          </ac:spMkLst>
        </pc:spChg>
        <pc:spChg chg="add del mod">
          <ac:chgData name="Srivaths Swaminathan" userId="fab820a8-d04c-4fb7-bc62-495e227921e9" providerId="ADAL" clId="{7BA84AA0-DF91-44A9-A18C-3379702B0E32}" dt="2023-08-17T18:51:55.472" v="12347"/>
          <ac:spMkLst>
            <pc:docMk/>
            <pc:sldMk cId="1098155061" sldId="2147479616"/>
            <ac:spMk id="27" creationId="{310652F8-3AAC-EE50-FAC3-CF2F470C40E0}"/>
          </ac:spMkLst>
        </pc:spChg>
        <pc:spChg chg="add del mod">
          <ac:chgData name="Srivaths Swaminathan" userId="fab820a8-d04c-4fb7-bc62-495e227921e9" providerId="ADAL" clId="{7BA84AA0-DF91-44A9-A18C-3379702B0E32}" dt="2023-08-17T18:51:55.472" v="12347"/>
          <ac:spMkLst>
            <pc:docMk/>
            <pc:sldMk cId="1098155061" sldId="2147479616"/>
            <ac:spMk id="28" creationId="{F901BFB2-7419-88F8-7A08-C1E940AD43A6}"/>
          </ac:spMkLst>
        </pc:spChg>
        <pc:spChg chg="add del mod">
          <ac:chgData name="Srivaths Swaminathan" userId="fab820a8-d04c-4fb7-bc62-495e227921e9" providerId="ADAL" clId="{7BA84AA0-DF91-44A9-A18C-3379702B0E32}" dt="2023-08-17T18:51:55.472" v="12347"/>
          <ac:spMkLst>
            <pc:docMk/>
            <pc:sldMk cId="1098155061" sldId="2147479616"/>
            <ac:spMk id="29" creationId="{474A1497-118E-4A5C-CA73-9DAEAC9C00CF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0" creationId="{AF13E415-E5DD-55D0-7549-EFDA1DC5C989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1" creationId="{EC77D846-A4CD-FA54-68F1-DA4717816C5F}"/>
          </ac:spMkLst>
        </pc:spChg>
        <pc:spChg chg="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2" creationId="{9FF5CDFA-1489-0B41-139F-A4D645850C9A}"/>
          </ac:spMkLst>
        </pc:spChg>
        <pc:spChg chg="add mod">
          <ac:chgData name="Srivaths Swaminathan" userId="fab820a8-d04c-4fb7-bc62-495e227921e9" providerId="ADAL" clId="{7BA84AA0-DF91-44A9-A18C-3379702B0E32}" dt="2023-08-17T18:55:51.901" v="12980" actId="554"/>
          <ac:spMkLst>
            <pc:docMk/>
            <pc:sldMk cId="1098155061" sldId="2147479616"/>
            <ac:spMk id="33" creationId="{E658D722-ABEA-8D09-888F-D256ABB137C2}"/>
          </ac:spMkLst>
        </pc:spChg>
        <pc:spChg chg="add mod">
          <ac:chgData name="Srivaths Swaminathan" userId="fab820a8-d04c-4fb7-bc62-495e227921e9" providerId="ADAL" clId="{7BA84AA0-DF91-44A9-A18C-3379702B0E32}" dt="2023-08-17T18:55:51.901" v="12980" actId="554"/>
          <ac:spMkLst>
            <pc:docMk/>
            <pc:sldMk cId="1098155061" sldId="2147479616"/>
            <ac:spMk id="34" creationId="{C44BA00D-08B2-5BCA-970F-DC875BF215D7}"/>
          </ac:spMkLst>
        </pc:spChg>
        <pc:spChg chg="add mod">
          <ac:chgData name="Srivaths Swaminathan" userId="fab820a8-d04c-4fb7-bc62-495e227921e9" providerId="ADAL" clId="{7BA84AA0-DF91-44A9-A18C-3379702B0E32}" dt="2023-08-17T18:55:51.901" v="12980" actId="554"/>
          <ac:spMkLst>
            <pc:docMk/>
            <pc:sldMk cId="1098155061" sldId="2147479616"/>
            <ac:spMk id="35" creationId="{1A425966-2479-DB50-9259-398C6C9514D0}"/>
          </ac:spMkLst>
        </pc:spChg>
        <pc:spChg chg="add mod">
          <ac:chgData name="Srivaths Swaminathan" userId="fab820a8-d04c-4fb7-bc62-495e227921e9" providerId="ADAL" clId="{7BA84AA0-DF91-44A9-A18C-3379702B0E32}" dt="2023-08-17T18:55:51.901" v="12980" actId="554"/>
          <ac:spMkLst>
            <pc:docMk/>
            <pc:sldMk cId="1098155061" sldId="2147479616"/>
            <ac:spMk id="36" creationId="{23E78714-5ED8-8D3C-8FD3-971C6DDEEF58}"/>
          </ac:spMkLst>
        </pc:spChg>
        <pc:spChg chg="add mod">
          <ac:chgData name="Srivaths Swaminathan" userId="fab820a8-d04c-4fb7-bc62-495e227921e9" providerId="ADAL" clId="{7BA84AA0-DF91-44A9-A18C-3379702B0E32}" dt="2023-08-17T19:00:23.927" v="13042" actId="20577"/>
          <ac:spMkLst>
            <pc:docMk/>
            <pc:sldMk cId="1098155061" sldId="2147479616"/>
            <ac:spMk id="37" creationId="{71F58665-5E3F-2EAA-A81C-94236DCF7ADA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8" creationId="{16CF8192-B5CC-4760-C31C-78CEE6DAC50C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39" creationId="{BD000EAB-4B70-8E6B-6021-3063DB206089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40" creationId="{381BA8DC-9F5F-88B7-147C-E091F649CB55}"/>
          </ac:spMkLst>
        </pc:spChg>
        <pc:spChg chg="add mod">
          <ac:chgData name="Srivaths Swaminathan" userId="fab820a8-d04c-4fb7-bc62-495e227921e9" providerId="ADAL" clId="{7BA84AA0-DF91-44A9-A18C-3379702B0E32}" dt="2023-08-17T18:55:40.527" v="12979" actId="1036"/>
          <ac:spMkLst>
            <pc:docMk/>
            <pc:sldMk cId="1098155061" sldId="2147479616"/>
            <ac:spMk id="41" creationId="{9E4EFC0B-2651-52C2-3640-37107D97D928}"/>
          </ac:spMkLst>
        </pc:spChg>
        <pc:graphicFrameChg chg="mod">
          <ac:chgData name="Srivaths Swaminathan" userId="fab820a8-d04c-4fb7-bc62-495e227921e9" providerId="ADAL" clId="{7BA84AA0-DF91-44A9-A18C-3379702B0E32}" dt="2023-08-18T16:15:01.113" v="15717"/>
          <ac:graphicFrameMkLst>
            <pc:docMk/>
            <pc:sldMk cId="1098155061" sldId="2147479616"/>
            <ac:graphicFrameMk id="6" creationId="{EDFA9C19-2135-724C-1613-9349AE51783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5:59:47.995" v="14817"/>
              <pc2:cmMkLst xmlns:pc2="http://schemas.microsoft.com/office/powerpoint/2019/9/main/command">
                <pc:docMk/>
                <pc:sldMk cId="1098155061" sldId="2147479616"/>
                <pc2:cmMk id="{C7FEBC20-AF18-4197-BE90-4D3A943F06FC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17T18:41:39.635" v="11761"/>
              <pc2:cmMkLst xmlns:pc2="http://schemas.microsoft.com/office/powerpoint/2019/9/main/command">
                <pc:docMk/>
                <pc:sldMk cId="1098155061" sldId="2147479616"/>
                <pc2:cmMk id="{518D4A7B-EF9C-4B9D-8886-B8598834662F}"/>
              </pc2:cmMkLst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5:59:39.270" v="14816"/>
              <pc2:cmMkLst xmlns:pc2="http://schemas.microsoft.com/office/powerpoint/2019/9/main/command">
                <pc:docMk/>
                <pc:sldMk cId="1098155061" sldId="2147479616"/>
                <pc2:cmMk id="{A3234E86-AF69-4A0C-9130-F895A9D1CA01}"/>
              </pc2:cmMkLst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18T15:59:55.509" v="14818"/>
              <pc2:cmMkLst xmlns:pc2="http://schemas.microsoft.com/office/powerpoint/2019/9/main/command">
                <pc:docMk/>
                <pc:sldMk cId="1098155061" sldId="2147479616"/>
                <pc2:cmMk id="{D9B98AE8-C940-4F04-8AD7-E94F2F2C6DAA}"/>
              </pc2:cmMkLst>
            </pc226:cmChg>
          </p:ext>
        </pc:extLst>
      </pc:sldChg>
      <pc:sldChg chg="addSp delSp modSp new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4200287211" sldId="2147479617"/>
        </pc:sldMkLst>
        <pc:spChg chg="mod">
          <ac:chgData name="Srivaths Swaminathan" userId="fab820a8-d04c-4fb7-bc62-495e227921e9" providerId="ADAL" clId="{7BA84AA0-DF91-44A9-A18C-3379702B0E32}" dt="2023-08-21T08:48:00.460" v="19508" actId="948"/>
          <ac:spMkLst>
            <pc:docMk/>
            <pc:sldMk cId="4200287211" sldId="2147479617"/>
            <ac:spMk id="2" creationId="{227D58D2-71CF-0289-27D2-AE1FC478E2F1}"/>
          </ac:spMkLst>
        </pc:spChg>
        <pc:spChg chg="add mod">
          <ac:chgData name="Srivaths Swaminathan" userId="fab820a8-d04c-4fb7-bc62-495e227921e9" providerId="ADAL" clId="{7BA84AA0-DF91-44A9-A18C-3379702B0E32}" dt="2023-08-21T08:41:31.496" v="18452" actId="20577"/>
          <ac:spMkLst>
            <pc:docMk/>
            <pc:sldMk cId="4200287211" sldId="2147479617"/>
            <ac:spMk id="4" creationId="{409783D2-8828-F131-1292-93610D057CD6}"/>
          </ac:spMkLst>
        </pc:spChg>
        <pc:spChg chg="del mod">
          <ac:chgData name="Srivaths Swaminathan" userId="fab820a8-d04c-4fb7-bc62-495e227921e9" providerId="ADAL" clId="{7BA84AA0-DF91-44A9-A18C-3379702B0E32}" dt="2023-08-18T16:03:53.051" v="15274" actId="478"/>
          <ac:spMkLst>
            <pc:docMk/>
            <pc:sldMk cId="4200287211" sldId="2147479617"/>
            <ac:spMk id="4" creationId="{4F3318CA-3B4E-789E-2358-8EDE4810172C}"/>
          </ac:spMkLst>
        </pc:spChg>
        <pc:spChg chg="add del mod modVis">
          <ac:chgData name="Srivaths Swaminathan" userId="fab820a8-d04c-4fb7-bc62-495e227921e9" providerId="ADAL" clId="{7BA84AA0-DF91-44A9-A18C-3379702B0E32}" dt="2023-08-21T08:30:20.298" v="18235"/>
          <ac:spMkLst>
            <pc:docMk/>
            <pc:sldMk cId="4200287211" sldId="2147479617"/>
            <ac:spMk id="5" creationId="{3B5C110B-04EE-00AE-10DF-2AD9753B253D}"/>
          </ac:spMkLst>
        </pc:spChg>
        <pc:spChg chg="add del mod modVis">
          <ac:chgData name="Srivaths Swaminathan" userId="fab820a8-d04c-4fb7-bc62-495e227921e9" providerId="ADAL" clId="{7BA84AA0-DF91-44A9-A18C-3379702B0E32}" dt="2023-08-18T16:03:37.240" v="15069"/>
          <ac:spMkLst>
            <pc:docMk/>
            <pc:sldMk cId="4200287211" sldId="2147479617"/>
            <ac:spMk id="5" creationId="{F9761B1D-EBF1-FFDC-D33F-75519D096D6E}"/>
          </ac:spMkLst>
        </pc:spChg>
        <pc:spChg chg="add del mod modVis">
          <ac:chgData name="Srivaths Swaminathan" userId="fab820a8-d04c-4fb7-bc62-495e227921e9" providerId="ADAL" clId="{7BA84AA0-DF91-44A9-A18C-3379702B0E32}" dt="2023-08-18T16:03:37.802" v="15110"/>
          <ac:spMkLst>
            <pc:docMk/>
            <pc:sldMk cId="4200287211" sldId="2147479617"/>
            <ac:spMk id="7" creationId="{3CAABB24-DCFD-A981-BF6C-64FF8F9753F5}"/>
          </ac:spMkLst>
        </pc:spChg>
        <pc:spChg chg="add del mod modVis">
          <ac:chgData name="Srivaths Swaminathan" userId="fab820a8-d04c-4fb7-bc62-495e227921e9" providerId="ADAL" clId="{7BA84AA0-DF91-44A9-A18C-3379702B0E32}" dt="2023-08-21T08:30:24.946" v="18269"/>
          <ac:spMkLst>
            <pc:docMk/>
            <pc:sldMk cId="4200287211" sldId="2147479617"/>
            <ac:spMk id="7" creationId="{A1E44363-73C8-5FBD-9138-A4DB35A78B59}"/>
          </ac:spMkLst>
        </pc:spChg>
        <pc:spChg chg="add del mod modVis">
          <ac:chgData name="Srivaths Swaminathan" userId="fab820a8-d04c-4fb7-bc62-495e227921e9" providerId="ADAL" clId="{7BA84AA0-DF91-44A9-A18C-3379702B0E32}" dt="2023-08-21T08:47:58.694" v="19472"/>
          <ac:spMkLst>
            <pc:docMk/>
            <pc:sldMk cId="4200287211" sldId="2147479617"/>
            <ac:spMk id="8" creationId="{2D6D1800-EF6C-B970-FAA6-5BB9D387C691}"/>
          </ac:spMkLst>
        </pc:spChg>
        <pc:spChg chg="add del mod modVis">
          <ac:chgData name="Srivaths Swaminathan" userId="fab820a8-d04c-4fb7-bc62-495e227921e9" providerId="ADAL" clId="{7BA84AA0-DF91-44A9-A18C-3379702B0E32}" dt="2023-08-18T16:03:39.691" v="15147"/>
          <ac:spMkLst>
            <pc:docMk/>
            <pc:sldMk cId="4200287211" sldId="2147479617"/>
            <ac:spMk id="8" creationId="{FBCAAEC9-B77F-792D-8A6E-DE87FED4F832}"/>
          </ac:spMkLst>
        </pc:spChg>
        <pc:spChg chg="add del mod modVis">
          <ac:chgData name="Srivaths Swaminathan" userId="fab820a8-d04c-4fb7-bc62-495e227921e9" providerId="ADAL" clId="{7BA84AA0-DF91-44A9-A18C-3379702B0E32}" dt="2023-08-18T16:03:40.596" v="15176"/>
          <ac:spMkLst>
            <pc:docMk/>
            <pc:sldMk cId="4200287211" sldId="2147479617"/>
            <ac:spMk id="9" creationId="{8CC2A48B-B738-EFE9-AA39-EE7CA2C69F26}"/>
          </ac:spMkLst>
        </pc:spChg>
        <pc:spChg chg="add del mod modVis">
          <ac:chgData name="Srivaths Swaminathan" userId="fab820a8-d04c-4fb7-bc62-495e227921e9" providerId="ADAL" clId="{7BA84AA0-DF91-44A9-A18C-3379702B0E32}" dt="2023-08-21T08:47:59.553" v="19501"/>
          <ac:spMkLst>
            <pc:docMk/>
            <pc:sldMk cId="4200287211" sldId="2147479617"/>
            <ac:spMk id="9" creationId="{CDC237CF-627C-DF04-9803-A9858A3179DB}"/>
          </ac:spMkLst>
        </pc:spChg>
        <pc:spChg chg="add del mod modVis">
          <ac:chgData name="Srivaths Swaminathan" userId="fab820a8-d04c-4fb7-bc62-495e227921e9" providerId="ADAL" clId="{7BA84AA0-DF91-44A9-A18C-3379702B0E32}" dt="2023-08-18T16:03:43.207" v="15211"/>
          <ac:spMkLst>
            <pc:docMk/>
            <pc:sldMk cId="4200287211" sldId="2147479617"/>
            <ac:spMk id="10" creationId="{37F86A30-B568-0C5E-3F82-125D5A08B68D}"/>
          </ac:spMkLst>
        </pc:spChg>
        <pc:spChg chg="add del mod modVis">
          <ac:chgData name="Srivaths Swaminathan" userId="fab820a8-d04c-4fb7-bc62-495e227921e9" providerId="ADAL" clId="{7BA84AA0-DF91-44A9-A18C-3379702B0E32}" dt="2023-08-21T08:48:00.508" v="19532"/>
          <ac:spMkLst>
            <pc:docMk/>
            <pc:sldMk cId="4200287211" sldId="2147479617"/>
            <ac:spMk id="10" creationId="{59B9986A-111C-B64B-2997-5738F37D1942}"/>
          </ac:spMkLst>
        </pc:spChg>
        <pc:spChg chg="add del mod modVis">
          <ac:chgData name="Srivaths Swaminathan" userId="fab820a8-d04c-4fb7-bc62-495e227921e9" providerId="ADAL" clId="{7BA84AA0-DF91-44A9-A18C-3379702B0E32}" dt="2023-08-18T16:03:48.638" v="15270"/>
          <ac:spMkLst>
            <pc:docMk/>
            <pc:sldMk cId="4200287211" sldId="2147479617"/>
            <ac:spMk id="11" creationId="{BB8119C0-9F53-B023-241B-AE6EF00CB803}"/>
          </ac:spMkLst>
        </pc:spChg>
        <pc:spChg chg="add mod">
          <ac:chgData name="Srivaths Swaminathan" userId="fab820a8-d04c-4fb7-bc62-495e227921e9" providerId="ADAL" clId="{7BA84AA0-DF91-44A9-A18C-3379702B0E32}" dt="2023-08-18T16:13:42.668" v="15497" actId="14100"/>
          <ac:spMkLst>
            <pc:docMk/>
            <pc:sldMk cId="4200287211" sldId="2147479617"/>
            <ac:spMk id="14" creationId="{F398D63C-676D-BA49-8DA0-A80C199B7B61}"/>
          </ac:spMkLst>
        </pc:spChg>
        <pc:spChg chg="add mod">
          <ac:chgData name="Srivaths Swaminathan" userId="fab820a8-d04c-4fb7-bc62-495e227921e9" providerId="ADAL" clId="{7BA84AA0-DF91-44A9-A18C-3379702B0E32}" dt="2023-08-18T16:13:42.668" v="15497" actId="14100"/>
          <ac:spMkLst>
            <pc:docMk/>
            <pc:sldMk cId="4200287211" sldId="2147479617"/>
            <ac:spMk id="15" creationId="{8797F095-3E1E-29EA-EC0D-7467778E6BBD}"/>
          </ac:spMkLst>
        </pc:spChg>
        <pc:spChg chg="add mod">
          <ac:chgData name="Srivaths Swaminathan" userId="fab820a8-d04c-4fb7-bc62-495e227921e9" providerId="ADAL" clId="{7BA84AA0-DF91-44A9-A18C-3379702B0E32}" dt="2023-08-18T16:13:42.668" v="15497" actId="14100"/>
          <ac:spMkLst>
            <pc:docMk/>
            <pc:sldMk cId="4200287211" sldId="2147479617"/>
            <ac:spMk id="16" creationId="{2B03A529-FF51-7B79-AA2B-14E0CF91E31F}"/>
          </ac:spMkLst>
        </pc:spChg>
        <pc:spChg chg="add mod">
          <ac:chgData name="Srivaths Swaminathan" userId="fab820a8-d04c-4fb7-bc62-495e227921e9" providerId="ADAL" clId="{7BA84AA0-DF91-44A9-A18C-3379702B0E32}" dt="2023-08-18T16:13:42.668" v="15497" actId="14100"/>
          <ac:spMkLst>
            <pc:docMk/>
            <pc:sldMk cId="4200287211" sldId="2147479617"/>
            <ac:spMk id="17" creationId="{24B445AE-E61C-C5FE-4C10-E2EBD52ACEB1}"/>
          </ac:spMkLst>
        </pc:spChg>
        <pc:graphicFrameChg chg="add mod ord modVis replST">
          <ac:chgData name="Srivaths Swaminathan" userId="fab820a8-d04c-4fb7-bc62-495e227921e9" providerId="ADAL" clId="{7BA84AA0-DF91-44A9-A18C-3379702B0E32}" dt="2023-08-21T08:48:00.512" v="19534"/>
          <ac:graphicFrameMkLst>
            <pc:docMk/>
            <pc:sldMk cId="4200287211" sldId="2147479617"/>
            <ac:graphicFrameMk id="6" creationId="{CCBE33CA-8239-9C13-AB46-B24D45C210BB}"/>
          </ac:graphicFrameMkLst>
        </pc:graphicFrameChg>
        <pc:graphicFrameChg chg="add del modGraphic">
          <ac:chgData name="Srivaths Swaminathan" userId="fab820a8-d04c-4fb7-bc62-495e227921e9" providerId="ADAL" clId="{7BA84AA0-DF91-44A9-A18C-3379702B0E32}" dt="2023-08-18T16:05:13.168" v="15276" actId="478"/>
          <ac:graphicFrameMkLst>
            <pc:docMk/>
            <pc:sldMk cId="4200287211" sldId="2147479617"/>
            <ac:graphicFrameMk id="12" creationId="{20BD8556-9EE4-9F5A-CC62-AECF4DF803F0}"/>
          </ac:graphicFrameMkLst>
        </pc:graphicFrameChg>
        <pc:graphicFrameChg chg="add del mod modGraphic">
          <ac:chgData name="Srivaths Swaminathan" userId="fab820a8-d04c-4fb7-bc62-495e227921e9" providerId="ADAL" clId="{7BA84AA0-DF91-44A9-A18C-3379702B0E32}" dt="2023-08-18T16:08:28.251" v="15279" actId="478"/>
          <ac:graphicFrameMkLst>
            <pc:docMk/>
            <pc:sldMk cId="4200287211" sldId="2147479617"/>
            <ac:graphicFrameMk id="13" creationId="{243978FF-B560-7590-1BB5-638DEB8AD7AB}"/>
          </ac:graphicFrameMkLst>
        </pc:graphicFrameChg>
      </pc:sldChg>
      <pc:sldChg chg="addSp delSp modSp add del mod">
        <pc:chgData name="Srivaths Swaminathan" userId="fab820a8-d04c-4fb7-bc62-495e227921e9" providerId="ADAL" clId="{7BA84AA0-DF91-44A9-A18C-3379702B0E32}" dt="2023-08-18T16:18:55.578" v="16530" actId="47"/>
        <pc:sldMkLst>
          <pc:docMk/>
          <pc:sldMk cId="1933423422" sldId="2147479618"/>
        </pc:sldMkLst>
        <pc:spChg chg="mod">
          <ac:chgData name="Srivaths Swaminathan" userId="fab820a8-d04c-4fb7-bc62-495e227921e9" providerId="ADAL" clId="{7BA84AA0-DF91-44A9-A18C-3379702B0E32}" dt="2023-08-18T16:14:31.055" v="15636" actId="948"/>
          <ac:spMkLst>
            <pc:docMk/>
            <pc:sldMk cId="1933423422" sldId="2147479618"/>
            <ac:spMk id="2" creationId="{227D58D2-71CF-0289-27D2-AE1FC478E2F1}"/>
          </ac:spMkLst>
        </pc:spChg>
        <pc:spChg chg="add del mod modVis">
          <ac:chgData name="Srivaths Swaminathan" userId="fab820a8-d04c-4fb7-bc62-495e227921e9" providerId="ADAL" clId="{7BA84AA0-DF91-44A9-A18C-3379702B0E32}" dt="2023-08-18T16:14:19.650" v="15544"/>
          <ac:spMkLst>
            <pc:docMk/>
            <pc:sldMk cId="1933423422" sldId="2147479618"/>
            <ac:spMk id="4" creationId="{ED0633B0-35E3-91C6-B870-9D1A4FE24DF8}"/>
          </ac:spMkLst>
        </pc:spChg>
        <pc:spChg chg="add del mod modVis">
          <ac:chgData name="Srivaths Swaminathan" userId="fab820a8-d04c-4fb7-bc62-495e227921e9" providerId="ADAL" clId="{7BA84AA0-DF91-44A9-A18C-3379702B0E32}" dt="2023-08-18T16:14:20.282" v="15576"/>
          <ac:spMkLst>
            <pc:docMk/>
            <pc:sldMk cId="1933423422" sldId="2147479618"/>
            <ac:spMk id="5" creationId="{87ACD4DB-5B64-A329-629F-0938E88537D7}"/>
          </ac:spMkLst>
        </pc:spChg>
        <pc:spChg chg="add del mod modVis">
          <ac:chgData name="Srivaths Swaminathan" userId="fab820a8-d04c-4fb7-bc62-495e227921e9" providerId="ADAL" clId="{7BA84AA0-DF91-44A9-A18C-3379702B0E32}" dt="2023-08-18T16:14:23.093" v="15625"/>
          <ac:spMkLst>
            <pc:docMk/>
            <pc:sldMk cId="1933423422" sldId="2147479618"/>
            <ac:spMk id="7" creationId="{D07A3A0E-3489-39E2-D623-2951D1718485}"/>
          </ac:spMkLst>
        </pc:spChg>
        <pc:spChg chg="add del mod modVis">
          <ac:chgData name="Srivaths Swaminathan" userId="fab820a8-d04c-4fb7-bc62-495e227921e9" providerId="ADAL" clId="{7BA84AA0-DF91-44A9-A18C-3379702B0E32}" dt="2023-08-18T16:14:31.088" v="15660"/>
          <ac:spMkLst>
            <pc:docMk/>
            <pc:sldMk cId="1933423422" sldId="2147479618"/>
            <ac:spMk id="8" creationId="{F4768AD3-08AC-5F2E-B8CA-22E54B1DBCF2}"/>
          </ac:spMkLst>
        </pc:spChg>
        <pc:spChg chg="del">
          <ac:chgData name="Srivaths Swaminathan" userId="fab820a8-d04c-4fb7-bc62-495e227921e9" providerId="ADAL" clId="{7BA84AA0-DF91-44A9-A18C-3379702B0E32}" dt="2023-08-18T16:14:36.600" v="15663" actId="478"/>
          <ac:spMkLst>
            <pc:docMk/>
            <pc:sldMk cId="1933423422" sldId="2147479618"/>
            <ac:spMk id="14" creationId="{F398D63C-676D-BA49-8DA0-A80C199B7B61}"/>
          </ac:spMkLst>
        </pc:spChg>
        <pc:spChg chg="del">
          <ac:chgData name="Srivaths Swaminathan" userId="fab820a8-d04c-4fb7-bc62-495e227921e9" providerId="ADAL" clId="{7BA84AA0-DF91-44A9-A18C-3379702B0E32}" dt="2023-08-18T16:14:36.600" v="15663" actId="478"/>
          <ac:spMkLst>
            <pc:docMk/>
            <pc:sldMk cId="1933423422" sldId="2147479618"/>
            <ac:spMk id="15" creationId="{8797F095-3E1E-29EA-EC0D-7467778E6BBD}"/>
          </ac:spMkLst>
        </pc:spChg>
        <pc:spChg chg="del">
          <ac:chgData name="Srivaths Swaminathan" userId="fab820a8-d04c-4fb7-bc62-495e227921e9" providerId="ADAL" clId="{7BA84AA0-DF91-44A9-A18C-3379702B0E32}" dt="2023-08-18T16:14:36.600" v="15663" actId="478"/>
          <ac:spMkLst>
            <pc:docMk/>
            <pc:sldMk cId="1933423422" sldId="2147479618"/>
            <ac:spMk id="16" creationId="{2B03A529-FF51-7B79-AA2B-14E0CF91E31F}"/>
          </ac:spMkLst>
        </pc:spChg>
        <pc:spChg chg="del">
          <ac:chgData name="Srivaths Swaminathan" userId="fab820a8-d04c-4fb7-bc62-495e227921e9" providerId="ADAL" clId="{7BA84AA0-DF91-44A9-A18C-3379702B0E32}" dt="2023-08-18T16:14:36.600" v="15663" actId="478"/>
          <ac:spMkLst>
            <pc:docMk/>
            <pc:sldMk cId="1933423422" sldId="2147479618"/>
            <ac:spMk id="17" creationId="{24B445AE-E61C-C5FE-4C10-E2EBD52ACEB1}"/>
          </ac:spMkLst>
        </pc:spChg>
        <pc:graphicFrameChg chg="mod">
          <ac:chgData name="Srivaths Swaminathan" userId="fab820a8-d04c-4fb7-bc62-495e227921e9" providerId="ADAL" clId="{7BA84AA0-DF91-44A9-A18C-3379702B0E32}" dt="2023-08-18T16:14:31.092" v="15662"/>
          <ac:graphicFrameMkLst>
            <pc:docMk/>
            <pc:sldMk cId="1933423422" sldId="2147479618"/>
            <ac:graphicFrameMk id="6" creationId="{CCBE33CA-8239-9C13-AB46-B24D45C210BB}"/>
          </ac:graphicFrameMkLst>
        </pc:graphicFrameChg>
      </pc:sldChg>
      <pc:sldChg chg="addSp delSp modSp add del mod ord delCm modCm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883633952" sldId="2147479619"/>
        </pc:sldMkLst>
        <pc:spChg chg="mod ord">
          <ac:chgData name="Srivaths Swaminathan" userId="fab820a8-d04c-4fb7-bc62-495e227921e9" providerId="ADAL" clId="{7BA84AA0-DF91-44A9-A18C-3379702B0E32}" dt="2023-08-21T08:48:11.551" v="19542" actId="948"/>
          <ac:spMkLst>
            <pc:docMk/>
            <pc:sldMk cId="2883633952" sldId="2147479619"/>
            <ac:spMk id="2" creationId="{A0A539C7-696A-7DF3-6837-C3696F000047}"/>
          </ac:spMkLst>
        </pc:spChg>
        <pc:spChg chg="mod ord">
          <ac:chgData name="Srivaths Swaminathan" userId="fab820a8-d04c-4fb7-bc62-495e227921e9" providerId="ADAL" clId="{7BA84AA0-DF91-44A9-A18C-3379702B0E32}" dt="2023-08-21T08:16:28.765" v="17096"/>
          <ac:spMkLst>
            <pc:docMk/>
            <pc:sldMk cId="2883633952" sldId="2147479619"/>
            <ac:spMk id="3" creationId="{5ED6C8A5-FD0C-E265-84A2-47E65A1B8275}"/>
          </ac:spMkLst>
        </pc:spChg>
        <pc:spChg chg="mod ord">
          <ac:chgData name="Srivaths Swaminathan" userId="fab820a8-d04c-4fb7-bc62-495e227921e9" providerId="ADAL" clId="{7BA84AA0-DF91-44A9-A18C-3379702B0E32}" dt="2023-08-21T08:16:28.764" v="17094"/>
          <ac:spMkLst>
            <pc:docMk/>
            <pc:sldMk cId="2883633952" sldId="2147479619"/>
            <ac:spMk id="4" creationId="{88200F8F-B90B-3AEF-EC9E-717DBEFBACD6}"/>
          </ac:spMkLst>
        </pc:spChg>
        <pc:spChg chg="add del mod ord">
          <ac:chgData name="Srivaths Swaminathan" userId="fab820a8-d04c-4fb7-bc62-495e227921e9" providerId="ADAL" clId="{7BA84AA0-DF91-44A9-A18C-3379702B0E32}" dt="2023-08-21T08:16:53.779" v="17143" actId="478"/>
          <ac:spMkLst>
            <pc:docMk/>
            <pc:sldMk cId="2883633952" sldId="2147479619"/>
            <ac:spMk id="5" creationId="{09AD244D-21B2-E4A7-5ADD-9F4E93E2C564}"/>
          </ac:spMkLst>
        </pc:spChg>
        <pc:spChg chg="add del mod modVis">
          <ac:chgData name="Srivaths Swaminathan" userId="fab820a8-d04c-4fb7-bc62-495e227921e9" providerId="ADAL" clId="{7BA84AA0-DF91-44A9-A18C-3379702B0E32}" dt="2023-08-18T16:15:49.190" v="15748"/>
          <ac:spMkLst>
            <pc:docMk/>
            <pc:sldMk cId="2883633952" sldId="2147479619"/>
            <ac:spMk id="5" creationId="{C32DC7DE-AF05-C168-6539-6935E2051774}"/>
          </ac:spMkLst>
        </pc:spChg>
        <pc:spChg chg="mod ord">
          <ac:chgData name="Srivaths Swaminathan" userId="fab820a8-d04c-4fb7-bc62-495e227921e9" providerId="ADAL" clId="{7BA84AA0-DF91-44A9-A18C-3379702B0E32}" dt="2023-08-21T08:16:28.762" v="17090"/>
          <ac:spMkLst>
            <pc:docMk/>
            <pc:sldMk cId="2883633952" sldId="2147479619"/>
            <ac:spMk id="7" creationId="{485FD7B2-FB92-815C-45F0-FCCA05431D19}"/>
          </ac:spMkLst>
        </pc:spChg>
        <pc:spChg chg="mod ord">
          <ac:chgData name="Srivaths Swaminathan" userId="fab820a8-d04c-4fb7-bc62-495e227921e9" providerId="ADAL" clId="{7BA84AA0-DF91-44A9-A18C-3379702B0E32}" dt="2023-08-21T08:16:28.763" v="17092"/>
          <ac:spMkLst>
            <pc:docMk/>
            <pc:sldMk cId="2883633952" sldId="2147479619"/>
            <ac:spMk id="8" creationId="{6412EBE6-B8E1-E426-8024-4B16322734CD}"/>
          </ac:spMkLst>
        </pc:spChg>
        <pc:spChg chg="add del mod modVis">
          <ac:chgData name="Srivaths Swaminathan" userId="fab820a8-d04c-4fb7-bc62-495e227921e9" providerId="ADAL" clId="{7BA84AA0-DF91-44A9-A18C-3379702B0E32}" dt="2023-08-18T16:17:22.192" v="15978"/>
          <ac:spMkLst>
            <pc:docMk/>
            <pc:sldMk cId="2883633952" sldId="2147479619"/>
            <ac:spMk id="9" creationId="{5782BC23-1D89-974A-BFFC-1A5C0CE4888F}"/>
          </ac:spMkLst>
        </pc:spChg>
        <pc:spChg chg="add del mod modVis">
          <ac:chgData name="Srivaths Swaminathan" userId="fab820a8-d04c-4fb7-bc62-495e227921e9" providerId="ADAL" clId="{7BA84AA0-DF91-44A9-A18C-3379702B0E32}" dt="2023-08-21T08:16:28.791" v="17138"/>
          <ac:spMkLst>
            <pc:docMk/>
            <pc:sldMk cId="2883633952" sldId="2147479619"/>
            <ac:spMk id="9" creationId="{CF48B1B1-D914-F198-8C37-2FE42D6C6635}"/>
          </ac:spMkLst>
        </pc:spChg>
        <pc:spChg chg="add del mod">
          <ac:chgData name="Srivaths Swaminathan" userId="fab820a8-d04c-4fb7-bc62-495e227921e9" providerId="ADAL" clId="{7BA84AA0-DF91-44A9-A18C-3379702B0E32}" dt="2023-08-21T08:16:48.283" v="17142" actId="478"/>
          <ac:spMkLst>
            <pc:docMk/>
            <pc:sldMk cId="2883633952" sldId="2147479619"/>
            <ac:spMk id="10" creationId="{0FBB4323-64B0-CF7A-B127-3ADA8101B14B}"/>
          </ac:spMkLst>
        </pc:spChg>
        <pc:spChg chg="add del mod modVis">
          <ac:chgData name="Srivaths Swaminathan" userId="fab820a8-d04c-4fb7-bc62-495e227921e9" providerId="ADAL" clId="{7BA84AA0-DF91-44A9-A18C-3379702B0E32}" dt="2023-08-18T16:17:25.747" v="16006"/>
          <ac:spMkLst>
            <pc:docMk/>
            <pc:sldMk cId="2883633952" sldId="2147479619"/>
            <ac:spMk id="10" creationId="{AC63A7B0-1810-5EF9-9566-55F33CD26C28}"/>
          </ac:spMkLst>
        </pc:spChg>
        <pc:spChg chg="add del mod modVis">
          <ac:chgData name="Srivaths Swaminathan" userId="fab820a8-d04c-4fb7-bc62-495e227921e9" providerId="ADAL" clId="{7BA84AA0-DF91-44A9-A18C-3379702B0E32}" dt="2023-08-18T16:17:28.271" v="16035"/>
          <ac:spMkLst>
            <pc:docMk/>
            <pc:sldMk cId="2883633952" sldId="2147479619"/>
            <ac:spMk id="11" creationId="{380A6077-6DD1-383E-DFF6-F748D5D9C84C}"/>
          </ac:spMkLst>
        </pc:spChg>
        <pc:spChg chg="add del mod modVis">
          <ac:chgData name="Srivaths Swaminathan" userId="fab820a8-d04c-4fb7-bc62-495e227921e9" providerId="ADAL" clId="{7BA84AA0-DF91-44A9-A18C-3379702B0E32}" dt="2023-08-21T08:48:11.592" v="19566"/>
          <ac:spMkLst>
            <pc:docMk/>
            <pc:sldMk cId="2883633952" sldId="2147479619"/>
            <ac:spMk id="11" creationId="{73A97451-A92E-D878-0421-0C134114D4B6}"/>
          </ac:spMkLst>
        </pc:spChg>
        <pc:spChg chg="add del mod modVis">
          <ac:chgData name="Srivaths Swaminathan" userId="fab820a8-d04c-4fb7-bc62-495e227921e9" providerId="ADAL" clId="{7BA84AA0-DF91-44A9-A18C-3379702B0E32}" dt="2023-08-18T16:21:58.733" v="16601"/>
          <ac:spMkLst>
            <pc:docMk/>
            <pc:sldMk cId="2883633952" sldId="2147479619"/>
            <ac:spMk id="12" creationId="{77B7B992-49C5-48A2-643B-3590FBF1A937}"/>
          </ac:spMkLst>
        </pc:spChg>
        <pc:spChg chg="mod ord">
          <ac:chgData name="Srivaths Swaminathan" userId="fab820a8-d04c-4fb7-bc62-495e227921e9" providerId="ADAL" clId="{7BA84AA0-DF91-44A9-A18C-3379702B0E32}" dt="2023-08-21T08:16:28.770" v="17104"/>
          <ac:spMkLst>
            <pc:docMk/>
            <pc:sldMk cId="2883633952" sldId="2147479619"/>
            <ac:spMk id="15" creationId="{1B3B647A-55A4-F415-39AD-FF3A993370A0}"/>
          </ac:spMkLst>
        </pc:spChg>
        <pc:spChg chg="mod ord">
          <ac:chgData name="Srivaths Swaminathan" userId="fab820a8-d04c-4fb7-bc62-495e227921e9" providerId="ADAL" clId="{7BA84AA0-DF91-44A9-A18C-3379702B0E32}" dt="2023-08-23T18:06:05.798" v="25232"/>
          <ac:spMkLst>
            <pc:docMk/>
            <pc:sldMk cId="2883633952" sldId="2147479619"/>
            <ac:spMk id="16" creationId="{35E08D05-7AD8-F49F-BAC2-1310A91050AE}"/>
          </ac:spMkLst>
        </pc:spChg>
        <pc:spChg chg="mod ord">
          <ac:chgData name="Srivaths Swaminathan" userId="fab820a8-d04c-4fb7-bc62-495e227921e9" providerId="ADAL" clId="{7BA84AA0-DF91-44A9-A18C-3379702B0E32}" dt="2023-08-21T08:16:28.772" v="17108"/>
          <ac:spMkLst>
            <pc:docMk/>
            <pc:sldMk cId="2883633952" sldId="2147479619"/>
            <ac:spMk id="17" creationId="{7062E827-77F2-F22B-2B14-860AA6809B1E}"/>
          </ac:spMkLst>
        </pc:spChg>
        <pc:spChg chg="mod ord">
          <ac:chgData name="Srivaths Swaminathan" userId="fab820a8-d04c-4fb7-bc62-495e227921e9" providerId="ADAL" clId="{7BA84AA0-DF91-44A9-A18C-3379702B0E32}" dt="2023-08-21T08:16:28.773" v="17110"/>
          <ac:spMkLst>
            <pc:docMk/>
            <pc:sldMk cId="2883633952" sldId="2147479619"/>
            <ac:spMk id="22" creationId="{6B103AA0-AEC2-6421-4F2A-45341979275A}"/>
          </ac:spMkLst>
        </pc:spChg>
        <pc:spChg chg="mod ord">
          <ac:chgData name="Srivaths Swaminathan" userId="fab820a8-d04c-4fb7-bc62-495e227921e9" providerId="ADAL" clId="{7BA84AA0-DF91-44A9-A18C-3379702B0E32}" dt="2023-08-21T08:16:28.774" v="17112"/>
          <ac:spMkLst>
            <pc:docMk/>
            <pc:sldMk cId="2883633952" sldId="2147479619"/>
            <ac:spMk id="23" creationId="{5B9AC56B-9744-E608-A840-7437A9352C95}"/>
          </ac:spMkLst>
        </pc:spChg>
        <pc:spChg chg="mod ord">
          <ac:chgData name="Srivaths Swaminathan" userId="fab820a8-d04c-4fb7-bc62-495e227921e9" providerId="ADAL" clId="{7BA84AA0-DF91-44A9-A18C-3379702B0E32}" dt="2023-08-21T08:16:28.776" v="17114"/>
          <ac:spMkLst>
            <pc:docMk/>
            <pc:sldMk cId="2883633952" sldId="2147479619"/>
            <ac:spMk id="24" creationId="{D26FDA03-C165-AE13-328B-1E2C148FA5F1}"/>
          </ac:spMkLst>
        </pc:spChg>
        <pc:spChg chg="mod ord">
          <ac:chgData name="Srivaths Swaminathan" userId="fab820a8-d04c-4fb7-bc62-495e227921e9" providerId="ADAL" clId="{7BA84AA0-DF91-44A9-A18C-3379702B0E32}" dt="2023-08-21T08:16:28.777" v="17116"/>
          <ac:spMkLst>
            <pc:docMk/>
            <pc:sldMk cId="2883633952" sldId="2147479619"/>
            <ac:spMk id="25" creationId="{E643EA8A-E312-5430-4907-8F5417826CF0}"/>
          </ac:spMkLst>
        </pc:spChg>
        <pc:spChg chg="mod ord">
          <ac:chgData name="Srivaths Swaminathan" userId="fab820a8-d04c-4fb7-bc62-495e227921e9" providerId="ADAL" clId="{7BA84AA0-DF91-44A9-A18C-3379702B0E32}" dt="2023-08-21T08:16:28.766" v="17098"/>
          <ac:spMkLst>
            <pc:docMk/>
            <pc:sldMk cId="2883633952" sldId="2147479619"/>
            <ac:spMk id="30" creationId="{AF13E415-E5DD-55D0-7549-EFDA1DC5C989}"/>
          </ac:spMkLst>
        </pc:spChg>
        <pc:spChg chg="mod ord">
          <ac:chgData name="Srivaths Swaminathan" userId="fab820a8-d04c-4fb7-bc62-495e227921e9" providerId="ADAL" clId="{7BA84AA0-DF91-44A9-A18C-3379702B0E32}" dt="2023-08-21T08:16:28.768" v="17100"/>
          <ac:spMkLst>
            <pc:docMk/>
            <pc:sldMk cId="2883633952" sldId="2147479619"/>
            <ac:spMk id="31" creationId="{EC77D846-A4CD-FA54-68F1-DA4717816C5F}"/>
          </ac:spMkLst>
        </pc:spChg>
        <pc:spChg chg="mod ord">
          <ac:chgData name="Srivaths Swaminathan" userId="fab820a8-d04c-4fb7-bc62-495e227921e9" providerId="ADAL" clId="{7BA84AA0-DF91-44A9-A18C-3379702B0E32}" dt="2023-08-21T08:16:28.769" v="17102"/>
          <ac:spMkLst>
            <pc:docMk/>
            <pc:sldMk cId="2883633952" sldId="2147479619"/>
            <ac:spMk id="32" creationId="{9FF5CDFA-1489-0B41-139F-A4D645850C9A}"/>
          </ac:spMkLst>
        </pc:spChg>
        <pc:spChg chg="mod ord">
          <ac:chgData name="Srivaths Swaminathan" userId="fab820a8-d04c-4fb7-bc62-495e227921e9" providerId="ADAL" clId="{7BA84AA0-DF91-44A9-A18C-3379702B0E32}" dt="2023-08-21T08:16:28.778" v="17118"/>
          <ac:spMkLst>
            <pc:docMk/>
            <pc:sldMk cId="2883633952" sldId="2147479619"/>
            <ac:spMk id="33" creationId="{E658D722-ABEA-8D09-888F-D256ABB137C2}"/>
          </ac:spMkLst>
        </pc:spChg>
        <pc:spChg chg="mod ord">
          <ac:chgData name="Srivaths Swaminathan" userId="fab820a8-d04c-4fb7-bc62-495e227921e9" providerId="ADAL" clId="{7BA84AA0-DF91-44A9-A18C-3379702B0E32}" dt="2023-08-21T08:16:28.779" v="17120"/>
          <ac:spMkLst>
            <pc:docMk/>
            <pc:sldMk cId="2883633952" sldId="2147479619"/>
            <ac:spMk id="34" creationId="{C44BA00D-08B2-5BCA-970F-DC875BF215D7}"/>
          </ac:spMkLst>
        </pc:spChg>
        <pc:spChg chg="mod ord">
          <ac:chgData name="Srivaths Swaminathan" userId="fab820a8-d04c-4fb7-bc62-495e227921e9" providerId="ADAL" clId="{7BA84AA0-DF91-44A9-A18C-3379702B0E32}" dt="2023-08-21T08:16:28.780" v="17122"/>
          <ac:spMkLst>
            <pc:docMk/>
            <pc:sldMk cId="2883633952" sldId="2147479619"/>
            <ac:spMk id="35" creationId="{1A425966-2479-DB50-9259-398C6C9514D0}"/>
          </ac:spMkLst>
        </pc:spChg>
        <pc:spChg chg="mod ord">
          <ac:chgData name="Srivaths Swaminathan" userId="fab820a8-d04c-4fb7-bc62-495e227921e9" providerId="ADAL" clId="{7BA84AA0-DF91-44A9-A18C-3379702B0E32}" dt="2023-08-21T08:16:28.782" v="17124"/>
          <ac:spMkLst>
            <pc:docMk/>
            <pc:sldMk cId="2883633952" sldId="2147479619"/>
            <ac:spMk id="36" creationId="{23E78714-5ED8-8D3C-8FD3-971C6DDEEF58}"/>
          </ac:spMkLst>
        </pc:spChg>
        <pc:spChg chg="del mod ord">
          <ac:chgData name="Srivaths Swaminathan" userId="fab820a8-d04c-4fb7-bc62-495e227921e9" providerId="ADAL" clId="{7BA84AA0-DF91-44A9-A18C-3379702B0E32}" dt="2023-08-23T18:13:36.610" v="25550" actId="478"/>
          <ac:spMkLst>
            <pc:docMk/>
            <pc:sldMk cId="2883633952" sldId="2147479619"/>
            <ac:spMk id="37" creationId="{71F58665-5E3F-2EAA-A81C-94236DCF7ADA}"/>
          </ac:spMkLst>
        </pc:spChg>
        <pc:spChg chg="mod ord">
          <ac:chgData name="Srivaths Swaminathan" userId="fab820a8-d04c-4fb7-bc62-495e227921e9" providerId="ADAL" clId="{7BA84AA0-DF91-44A9-A18C-3379702B0E32}" dt="2023-08-21T08:16:28.785" v="17128"/>
          <ac:spMkLst>
            <pc:docMk/>
            <pc:sldMk cId="2883633952" sldId="2147479619"/>
            <ac:spMk id="38" creationId="{16CF8192-B5CC-4760-C31C-78CEE6DAC50C}"/>
          </ac:spMkLst>
        </pc:spChg>
        <pc:spChg chg="mod ord">
          <ac:chgData name="Srivaths Swaminathan" userId="fab820a8-d04c-4fb7-bc62-495e227921e9" providerId="ADAL" clId="{7BA84AA0-DF91-44A9-A18C-3379702B0E32}" dt="2023-08-21T08:16:28.786" v="17130"/>
          <ac:spMkLst>
            <pc:docMk/>
            <pc:sldMk cId="2883633952" sldId="2147479619"/>
            <ac:spMk id="39" creationId="{BD000EAB-4B70-8E6B-6021-3063DB206089}"/>
          </ac:spMkLst>
        </pc:spChg>
        <pc:spChg chg="mod ord">
          <ac:chgData name="Srivaths Swaminathan" userId="fab820a8-d04c-4fb7-bc62-495e227921e9" providerId="ADAL" clId="{7BA84AA0-DF91-44A9-A18C-3379702B0E32}" dt="2023-08-21T08:16:28.786" v="17132"/>
          <ac:spMkLst>
            <pc:docMk/>
            <pc:sldMk cId="2883633952" sldId="2147479619"/>
            <ac:spMk id="40" creationId="{381BA8DC-9F5F-88B7-147C-E091F649CB55}"/>
          </ac:spMkLst>
        </pc:spChg>
        <pc:spChg chg="mod ord">
          <ac:chgData name="Srivaths Swaminathan" userId="fab820a8-d04c-4fb7-bc62-495e227921e9" providerId="ADAL" clId="{7BA84AA0-DF91-44A9-A18C-3379702B0E32}" dt="2023-08-21T08:16:28.787" v="17134"/>
          <ac:spMkLst>
            <pc:docMk/>
            <pc:sldMk cId="2883633952" sldId="2147479619"/>
            <ac:spMk id="41" creationId="{9E4EFC0B-2651-52C2-3640-37107D97D928}"/>
          </ac:spMkLst>
        </pc:spChg>
        <pc:graphicFrameChg chg="mod">
          <ac:chgData name="Srivaths Swaminathan" userId="fab820a8-d04c-4fb7-bc62-495e227921e9" providerId="ADAL" clId="{7BA84AA0-DF91-44A9-A18C-3379702B0E32}" dt="2023-08-21T08:48:11.596" v="19568"/>
          <ac:graphicFrameMkLst>
            <pc:docMk/>
            <pc:sldMk cId="2883633952" sldId="2147479619"/>
            <ac:graphicFrameMk id="6" creationId="{EDFA9C19-2135-724C-1613-9349AE51783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18T16:15:23.256" v="15720"/>
              <pc2:cmMkLst xmlns:pc2="http://schemas.microsoft.com/office/powerpoint/2019/9/main/command">
                <pc:docMk/>
                <pc:sldMk cId="2883633952" sldId="2147479619"/>
                <pc2:cmMk id="{33D59B01-E00F-46F4-9531-3A05197AD675}"/>
              </pc2:cmMkLst>
            </pc226:cmChg>
            <pc226:cmChg xmlns:pc226="http://schemas.microsoft.com/office/powerpoint/2022/06/main/command" chg="mod">
              <pc226:chgData name="Srivaths Swaminathan" userId="fab820a8-d04c-4fb7-bc62-495e227921e9" providerId="ADAL" clId="{7BA84AA0-DF91-44A9-A18C-3379702B0E32}" dt="2023-08-23T18:13:36.648" v="25551" actId="2056"/>
              <pc2:cmMkLst xmlns:pc2="http://schemas.microsoft.com/office/powerpoint/2019/9/main/command">
                <pc:docMk/>
                <pc:sldMk cId="2883633952" sldId="2147479619"/>
                <pc2:cmMk id="{93DBD83A-C89D-4B89-8D1C-9D67C4B9C55A}"/>
              </pc2:cmMkLst>
            </pc226:cmChg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18T16:15:27.795" v="15722"/>
              <pc2:cmMkLst xmlns:pc2="http://schemas.microsoft.com/office/powerpoint/2019/9/main/command">
                <pc:docMk/>
                <pc:sldMk cId="2883633952" sldId="2147479619"/>
                <pc2:cmMk id="{0308DF4D-9FE5-4DC9-83FE-2CF3C6E7E2A9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18T16:15:22.427" v="15719"/>
              <pc2:cmMkLst xmlns:pc2="http://schemas.microsoft.com/office/powerpoint/2019/9/main/command">
                <pc:docMk/>
                <pc:sldMk cId="2883633952" sldId="2147479619"/>
                <pc2:cmMk id="{C44B7EB3-ED9F-4CA9-8272-B3E863974776}"/>
              </pc2:cmMkLst>
            </pc226:cmChg>
          </p:ext>
        </pc:extLst>
      </pc:sldChg>
      <pc:sldChg chg="addSp delSp modSp add del mod ord addCm delCm modCm">
        <pc:chgData name="Srivaths Swaminathan" userId="fab820a8-d04c-4fb7-bc62-495e227921e9" providerId="ADAL" clId="{7BA84AA0-DF91-44A9-A18C-3379702B0E32}" dt="2023-09-06T17:04:11.410" v="36924" actId="47"/>
        <pc:sldMkLst>
          <pc:docMk/>
          <pc:sldMk cId="922357935" sldId="2147479620"/>
        </pc:sldMkLst>
        <pc:spChg chg="mod">
          <ac:chgData name="Srivaths Swaminathan" userId="fab820a8-d04c-4fb7-bc62-495e227921e9" providerId="ADAL" clId="{7BA84AA0-DF91-44A9-A18C-3379702B0E32}" dt="2023-08-23T17:30:22.924" v="24420" actId="948"/>
          <ac:spMkLst>
            <pc:docMk/>
            <pc:sldMk cId="922357935" sldId="2147479620"/>
            <ac:spMk id="2" creationId="{227D58D2-71CF-0289-27D2-AE1FC478E2F1}"/>
          </ac:spMkLst>
        </pc:spChg>
        <pc:spChg chg="del mod">
          <ac:chgData name="Srivaths Swaminathan" userId="fab820a8-d04c-4fb7-bc62-495e227921e9" providerId="ADAL" clId="{7BA84AA0-DF91-44A9-A18C-3379702B0E32}" dt="2023-08-23T17:29:38.660" v="24325" actId="478"/>
          <ac:spMkLst>
            <pc:docMk/>
            <pc:sldMk cId="922357935" sldId="2147479620"/>
            <ac:spMk id="3" creationId="{0167815B-5109-437D-16D8-4EDD928E2E33}"/>
          </ac:spMkLst>
        </pc:spChg>
        <pc:spChg chg="add del">
          <ac:chgData name="Srivaths Swaminathan" userId="fab820a8-d04c-4fb7-bc62-495e227921e9" providerId="ADAL" clId="{7BA84AA0-DF91-44A9-A18C-3379702B0E32}" dt="2023-08-29T10:39:42.561" v="28456"/>
          <ac:spMkLst>
            <pc:docMk/>
            <pc:sldMk cId="922357935" sldId="2147479620"/>
            <ac:spMk id="3" creationId="{40E0F344-CAF8-B42B-002F-6D9ED7F4404B}"/>
          </ac:spMkLst>
        </pc:spChg>
        <pc:spChg chg="add del mod">
          <ac:chgData name="Srivaths Swaminathan" userId="fab820a8-d04c-4fb7-bc62-495e227921e9" providerId="ADAL" clId="{7BA84AA0-DF91-44A9-A18C-3379702B0E32}" dt="2023-08-21T08:41:38.223" v="18453" actId="478"/>
          <ac:spMkLst>
            <pc:docMk/>
            <pc:sldMk cId="922357935" sldId="2147479620"/>
            <ac:spMk id="4" creationId="{492DDB68-7DBA-F7F3-589A-49D256656627}"/>
          </ac:spMkLst>
        </pc:spChg>
        <pc:spChg chg="add del mod modVis">
          <ac:chgData name="Srivaths Swaminathan" userId="fab820a8-d04c-4fb7-bc62-495e227921e9" providerId="ADAL" clId="{7BA84AA0-DF91-44A9-A18C-3379702B0E32}" dt="2023-08-18T16:17:42.045" v="16064"/>
          <ac:spMkLst>
            <pc:docMk/>
            <pc:sldMk cId="922357935" sldId="2147479620"/>
            <ac:spMk id="4" creationId="{A6186B42-988C-978F-F835-21EB887768D1}"/>
          </ac:spMkLst>
        </pc:spChg>
        <pc:spChg chg="add del">
          <ac:chgData name="Srivaths Swaminathan" userId="fab820a8-d04c-4fb7-bc62-495e227921e9" providerId="ADAL" clId="{7BA84AA0-DF91-44A9-A18C-3379702B0E32}" dt="2023-08-29T10:39:50.572" v="28462"/>
          <ac:spMkLst>
            <pc:docMk/>
            <pc:sldMk cId="922357935" sldId="2147479620"/>
            <ac:spMk id="4" creationId="{FCA9927D-0E10-6858-2415-5C1A7D61A708}"/>
          </ac:spMkLst>
        </pc:spChg>
        <pc:spChg chg="add del mod modVis">
          <ac:chgData name="Srivaths Swaminathan" userId="fab820a8-d04c-4fb7-bc62-495e227921e9" providerId="ADAL" clId="{7BA84AA0-DF91-44A9-A18C-3379702B0E32}" dt="2023-08-18T16:17:48.663" v="16104"/>
          <ac:spMkLst>
            <pc:docMk/>
            <pc:sldMk cId="922357935" sldId="2147479620"/>
            <ac:spMk id="5" creationId="{125DBA07-6C32-9477-1D26-1DBD44502135}"/>
          </ac:spMkLst>
        </pc:spChg>
        <pc:spChg chg="add del mod modVis">
          <ac:chgData name="Srivaths Swaminathan" userId="fab820a8-d04c-4fb7-bc62-495e227921e9" providerId="ADAL" clId="{7BA84AA0-DF91-44A9-A18C-3379702B0E32}" dt="2023-08-21T08:30:50.214" v="18321" actId="962"/>
          <ac:spMkLst>
            <pc:docMk/>
            <pc:sldMk cId="922357935" sldId="2147479620"/>
            <ac:spMk id="5" creationId="{F4B99434-E016-18A8-82ED-B4B483195EE7}"/>
          </ac:spMkLst>
        </pc:spChg>
        <pc:spChg chg="add del mod modVis">
          <ac:chgData name="Srivaths Swaminathan" userId="fab820a8-d04c-4fb7-bc62-495e227921e9" providerId="ADAL" clId="{7BA84AA0-DF91-44A9-A18C-3379702B0E32}" dt="2023-08-18T16:17:50.321" v="16137"/>
          <ac:spMkLst>
            <pc:docMk/>
            <pc:sldMk cId="922357935" sldId="2147479620"/>
            <ac:spMk id="7" creationId="{04EEB554-03B0-92E8-00DB-78C5B4830C0C}"/>
          </ac:spMkLst>
        </pc:spChg>
        <pc:spChg chg="add del mod modVis">
          <ac:chgData name="Srivaths Swaminathan" userId="fab820a8-d04c-4fb7-bc62-495e227921e9" providerId="ADAL" clId="{7BA84AA0-DF91-44A9-A18C-3379702B0E32}" dt="2023-08-21T08:30:57.299" v="18351"/>
          <ac:spMkLst>
            <pc:docMk/>
            <pc:sldMk cId="922357935" sldId="2147479620"/>
            <ac:spMk id="7" creationId="{F16085F4-56D4-9525-CE02-523796C03CDF}"/>
          </ac:spMkLst>
        </pc:spChg>
        <pc:spChg chg="add del mod modVis">
          <ac:chgData name="Srivaths Swaminathan" userId="fab820a8-d04c-4fb7-bc62-495e227921e9" providerId="ADAL" clId="{7BA84AA0-DF91-44A9-A18C-3379702B0E32}" dt="2023-08-18T16:17:50.875" v="16165"/>
          <ac:spMkLst>
            <pc:docMk/>
            <pc:sldMk cId="922357935" sldId="2147479620"/>
            <ac:spMk id="8" creationId="{E29CBD62-0A1A-6EBF-D490-DCED1E75E568}"/>
          </ac:spMkLst>
        </pc:spChg>
        <pc:spChg chg="add del mod">
          <ac:chgData name="Srivaths Swaminathan" userId="fab820a8-d04c-4fb7-bc62-495e227921e9" providerId="ADAL" clId="{7BA84AA0-DF91-44A9-A18C-3379702B0E32}" dt="2023-08-23T16:44:45.792" v="24014" actId="478"/>
          <ac:spMkLst>
            <pc:docMk/>
            <pc:sldMk cId="922357935" sldId="2147479620"/>
            <ac:spMk id="8" creationId="{E978A631-0162-4393-8CBA-541122F72686}"/>
          </ac:spMkLst>
        </pc:spChg>
        <pc:spChg chg="add del mod modVis">
          <ac:chgData name="Srivaths Swaminathan" userId="fab820a8-d04c-4fb7-bc62-495e227921e9" providerId="ADAL" clId="{7BA84AA0-DF91-44A9-A18C-3379702B0E32}" dt="2023-08-18T16:17:51.689" v="16201"/>
          <ac:spMkLst>
            <pc:docMk/>
            <pc:sldMk cId="922357935" sldId="2147479620"/>
            <ac:spMk id="9" creationId="{33451443-2E74-47FB-BDCE-5FD29FF100BC}"/>
          </ac:spMkLst>
        </pc:spChg>
        <pc:spChg chg="add del mod modVis">
          <ac:chgData name="Srivaths Swaminathan" userId="fab820a8-d04c-4fb7-bc62-495e227921e9" providerId="ADAL" clId="{7BA84AA0-DF91-44A9-A18C-3379702B0E32}" dt="2023-08-21T08:48:16.628" v="19598"/>
          <ac:spMkLst>
            <pc:docMk/>
            <pc:sldMk cId="922357935" sldId="2147479620"/>
            <ac:spMk id="9" creationId="{A3ACA356-5DF4-BA69-25B9-8C02AF93C3A6}"/>
          </ac:spMkLst>
        </pc:spChg>
        <pc:spChg chg="add del mod modVis">
          <ac:chgData name="Srivaths Swaminathan" userId="fab820a8-d04c-4fb7-bc62-495e227921e9" providerId="ADAL" clId="{7BA84AA0-DF91-44A9-A18C-3379702B0E32}" dt="2023-08-18T16:17:53.517" v="16238"/>
          <ac:spMkLst>
            <pc:docMk/>
            <pc:sldMk cId="922357935" sldId="2147479620"/>
            <ac:spMk id="10" creationId="{6426E5D0-AAB1-7637-1A8F-715DA0C43BB2}"/>
          </ac:spMkLst>
        </pc:spChg>
        <pc:spChg chg="add del mod modVis">
          <ac:chgData name="Srivaths Swaminathan" userId="fab820a8-d04c-4fb7-bc62-495e227921e9" providerId="ADAL" clId="{7BA84AA0-DF91-44A9-A18C-3379702B0E32}" dt="2023-08-21T08:48:17.376" v="19627"/>
          <ac:spMkLst>
            <pc:docMk/>
            <pc:sldMk cId="922357935" sldId="2147479620"/>
            <ac:spMk id="10" creationId="{832729E5-4BFC-08FD-5A80-9B4A0DD4D40E}"/>
          </ac:spMkLst>
        </pc:spChg>
        <pc:spChg chg="add del mod modVis">
          <ac:chgData name="Srivaths Swaminathan" userId="fab820a8-d04c-4fb7-bc62-495e227921e9" providerId="ADAL" clId="{7BA84AA0-DF91-44A9-A18C-3379702B0E32}" dt="2023-08-23T17:30:19.002" v="24364"/>
          <ac:spMkLst>
            <pc:docMk/>
            <pc:sldMk cId="922357935" sldId="2147479620"/>
            <ac:spMk id="11" creationId="{178A4FBF-818A-919A-9C67-19D48F5DF243}"/>
          </ac:spMkLst>
        </pc:spChg>
        <pc:spChg chg="add del mod modVis">
          <ac:chgData name="Srivaths Swaminathan" userId="fab820a8-d04c-4fb7-bc62-495e227921e9" providerId="ADAL" clId="{7BA84AA0-DF91-44A9-A18C-3379702B0E32}" dt="2023-08-18T16:17:54.126" v="16266"/>
          <ac:spMkLst>
            <pc:docMk/>
            <pc:sldMk cId="922357935" sldId="2147479620"/>
            <ac:spMk id="11" creationId="{F6590092-1322-EF97-3B40-CCDA1879D759}"/>
          </ac:spMkLst>
        </pc:spChg>
        <pc:spChg chg="add del mod modVis">
          <ac:chgData name="Srivaths Swaminathan" userId="fab820a8-d04c-4fb7-bc62-495e227921e9" providerId="ADAL" clId="{7BA84AA0-DF91-44A9-A18C-3379702B0E32}" dt="2023-08-23T17:30:21.424" v="24407"/>
          <ac:spMkLst>
            <pc:docMk/>
            <pc:sldMk cId="922357935" sldId="2147479620"/>
            <ac:spMk id="12" creationId="{147560DA-6570-DD41-9602-01759680D2BD}"/>
          </ac:spMkLst>
        </pc:spChg>
        <pc:spChg chg="add del mod modVis">
          <ac:chgData name="Srivaths Swaminathan" userId="fab820a8-d04c-4fb7-bc62-495e227921e9" providerId="ADAL" clId="{7BA84AA0-DF91-44A9-A18C-3379702B0E32}" dt="2023-08-18T16:17:55.380" v="16304"/>
          <ac:spMkLst>
            <pc:docMk/>
            <pc:sldMk cId="922357935" sldId="2147479620"/>
            <ac:spMk id="12" creationId="{D2635BF9-1B91-DAAA-AF3E-65C5AF7D2290}"/>
          </ac:spMkLst>
        </pc:spChg>
        <pc:spChg chg="add del mod modVis">
          <ac:chgData name="Srivaths Swaminathan" userId="fab820a8-d04c-4fb7-bc62-495e227921e9" providerId="ADAL" clId="{7BA84AA0-DF91-44A9-A18C-3379702B0E32}" dt="2023-08-18T16:17:56.166" v="16335"/>
          <ac:spMkLst>
            <pc:docMk/>
            <pc:sldMk cId="922357935" sldId="2147479620"/>
            <ac:spMk id="13" creationId="{8613DF5F-5E00-CD26-6C59-090B60166783}"/>
          </ac:spMkLst>
        </pc:spChg>
        <pc:spChg chg="add del mod modVis">
          <ac:chgData name="Srivaths Swaminathan" userId="fab820a8-d04c-4fb7-bc62-495e227921e9" providerId="ADAL" clId="{7BA84AA0-DF91-44A9-A18C-3379702B0E32}" dt="2023-08-23T17:30:22.975" v="24444"/>
          <ac:spMkLst>
            <pc:docMk/>
            <pc:sldMk cId="922357935" sldId="2147479620"/>
            <ac:spMk id="13" creationId="{8ACE1557-B3EC-5C3D-28AC-7F5D58549D7B}"/>
          </ac:spMkLst>
        </pc:spChg>
        <pc:spChg chg="del mod">
          <ac:chgData name="Srivaths Swaminathan" userId="fab820a8-d04c-4fb7-bc62-495e227921e9" providerId="ADAL" clId="{7BA84AA0-DF91-44A9-A18C-3379702B0E32}" dt="2023-08-23T17:14:51.654" v="24197" actId="478"/>
          <ac:spMkLst>
            <pc:docMk/>
            <pc:sldMk cId="922357935" sldId="2147479620"/>
            <ac:spMk id="14" creationId="{F398D63C-676D-BA49-8DA0-A80C199B7B61}"/>
          </ac:spMkLst>
        </pc:spChg>
        <pc:spChg chg="del mod">
          <ac:chgData name="Srivaths Swaminathan" userId="fab820a8-d04c-4fb7-bc62-495e227921e9" providerId="ADAL" clId="{7BA84AA0-DF91-44A9-A18C-3379702B0E32}" dt="2023-08-23T18:14:31.575" v="25562" actId="478"/>
          <ac:spMkLst>
            <pc:docMk/>
            <pc:sldMk cId="922357935" sldId="2147479620"/>
            <ac:spMk id="15" creationId="{8797F095-3E1E-29EA-EC0D-7467778E6BBD}"/>
          </ac:spMkLst>
        </pc:spChg>
        <pc:spChg chg="del mod">
          <ac:chgData name="Srivaths Swaminathan" userId="fab820a8-d04c-4fb7-bc62-495e227921e9" providerId="ADAL" clId="{7BA84AA0-DF91-44A9-A18C-3379702B0E32}" dt="2023-08-23T17:14:51.654" v="24197" actId="478"/>
          <ac:spMkLst>
            <pc:docMk/>
            <pc:sldMk cId="922357935" sldId="2147479620"/>
            <ac:spMk id="16" creationId="{2B03A529-FF51-7B79-AA2B-14E0CF91E31F}"/>
          </ac:spMkLst>
        </pc:spChg>
        <pc:spChg chg="del mod">
          <ac:chgData name="Srivaths Swaminathan" userId="fab820a8-d04c-4fb7-bc62-495e227921e9" providerId="ADAL" clId="{7BA84AA0-DF91-44A9-A18C-3379702B0E32}" dt="2023-08-23T18:14:31.575" v="25562" actId="478"/>
          <ac:spMkLst>
            <pc:docMk/>
            <pc:sldMk cId="922357935" sldId="2147479620"/>
            <ac:spMk id="17" creationId="{24B445AE-E61C-C5FE-4C10-E2EBD52ACEB1}"/>
          </ac:spMkLst>
        </pc:spChg>
        <pc:spChg chg="add del mod modVis">
          <ac:chgData name="Srivaths Swaminathan" userId="fab820a8-d04c-4fb7-bc62-495e227921e9" providerId="ADAL" clId="{7BA84AA0-DF91-44A9-A18C-3379702B0E32}" dt="2023-08-18T16:17:57.081" v="16365"/>
          <ac:spMkLst>
            <pc:docMk/>
            <pc:sldMk cId="922357935" sldId="2147479620"/>
            <ac:spMk id="18" creationId="{678D71C1-5332-B947-8A70-C7E22EDDE40B}"/>
          </ac:spMkLst>
        </pc:spChg>
        <pc:spChg chg="add mod">
          <ac:chgData name="Srivaths Swaminathan" userId="fab820a8-d04c-4fb7-bc62-495e227921e9" providerId="ADAL" clId="{7BA84AA0-DF91-44A9-A18C-3379702B0E32}" dt="2023-08-23T18:32:45.453" v="25810" actId="12788"/>
          <ac:spMkLst>
            <pc:docMk/>
            <pc:sldMk cId="922357935" sldId="2147479620"/>
            <ac:spMk id="18" creationId="{A158D391-1C22-E0D5-DC32-69647090C4E5}"/>
          </ac:spMkLst>
        </pc:spChg>
        <pc:graphicFrameChg chg="mod">
          <ac:chgData name="Srivaths Swaminathan" userId="fab820a8-d04c-4fb7-bc62-495e227921e9" providerId="ADAL" clId="{7BA84AA0-DF91-44A9-A18C-3379702B0E32}" dt="2023-09-06T17:03:45.744" v="36923"/>
          <ac:graphicFrameMkLst>
            <pc:docMk/>
            <pc:sldMk cId="922357935" sldId="2147479620"/>
            <ac:graphicFrameMk id="6" creationId="{CCBE33CA-8239-9C13-AB46-B24D45C210BB}"/>
          </ac:graphicFrameMkLst>
        </pc:graphicFrameChg>
        <pc:graphicFrameChg chg="add mod modGraphic">
          <ac:chgData name="Srivaths Swaminathan" userId="fab820a8-d04c-4fb7-bc62-495e227921e9" providerId="ADAL" clId="{7BA84AA0-DF91-44A9-A18C-3379702B0E32}" dt="2023-08-23T18:32:38.266" v="25809" actId="12788"/>
          <ac:graphicFrameMkLst>
            <pc:docMk/>
            <pc:sldMk cId="922357935" sldId="2147479620"/>
            <ac:graphicFrameMk id="10" creationId="{DAE7F325-0F15-5523-89CD-39BD8FDAC8A7}"/>
          </ac:graphicFrameMkLst>
        </pc:graphicFrameChg>
        <pc:picChg chg="add del mod">
          <ac:chgData name="Srivaths Swaminathan" userId="fab820a8-d04c-4fb7-bc62-495e227921e9" providerId="ADAL" clId="{7BA84AA0-DF91-44A9-A18C-3379702B0E32}" dt="2023-08-29T10:39:54.383" v="28465" actId="21"/>
          <ac:picMkLst>
            <pc:docMk/>
            <pc:sldMk cId="922357935" sldId="2147479620"/>
            <ac:picMk id="5" creationId="{42598D75-49BF-DAB1-B1C1-5301B8FB8721}"/>
          </ac:picMkLst>
        </pc:picChg>
        <pc:picChg chg="add del mod">
          <ac:chgData name="Srivaths Swaminathan" userId="fab820a8-d04c-4fb7-bc62-495e227921e9" providerId="ADAL" clId="{7BA84AA0-DF91-44A9-A18C-3379702B0E32}" dt="2023-08-23T18:20:36.988" v="25659" actId="478"/>
          <ac:picMkLst>
            <pc:docMk/>
            <pc:sldMk cId="922357935" sldId="2147479620"/>
            <ac:picMk id="5" creationId="{87F8962F-1516-BC60-58AA-D151AB95A973}"/>
          </ac:picMkLst>
        </pc:picChg>
        <pc:picChg chg="add del mod">
          <ac:chgData name="Srivaths Swaminathan" userId="fab820a8-d04c-4fb7-bc62-495e227921e9" providerId="ADAL" clId="{7BA84AA0-DF91-44A9-A18C-3379702B0E32}" dt="2023-08-23T18:20:36.988" v="25659" actId="478"/>
          <ac:picMkLst>
            <pc:docMk/>
            <pc:sldMk cId="922357935" sldId="2147479620"/>
            <ac:picMk id="9" creationId="{ABAAE293-2274-3A08-E889-ECEE870674F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Srivaths Swaminathan" userId="fab820a8-d04c-4fb7-bc62-495e227921e9" providerId="ADAL" clId="{7BA84AA0-DF91-44A9-A18C-3379702B0E32}" dt="2023-08-30T17:10:54.684" v="28719"/>
              <pc2:cmMkLst xmlns:pc2="http://schemas.microsoft.com/office/powerpoint/2019/9/main/command">
                <pc:docMk/>
                <pc:sldMk cId="922357935" sldId="2147479620"/>
                <pc2:cmMk id="{1F05AFEC-C5A3-44A8-8AB0-C3E932729043}"/>
              </pc2:cmMkLst>
            </pc226:cmChg>
          </p:ext>
        </pc:extLst>
      </pc:sldChg>
      <pc:sldChg chg="addSp delSp modSp add del mod ord">
        <pc:chgData name="Srivaths Swaminathan" userId="fab820a8-d04c-4fb7-bc62-495e227921e9" providerId="ADAL" clId="{7BA84AA0-DF91-44A9-A18C-3379702B0E32}" dt="2023-09-07T09:31:29.677" v="37136"/>
        <pc:sldMkLst>
          <pc:docMk/>
          <pc:sldMk cId="1507409585" sldId="2147479621"/>
        </pc:sldMkLst>
        <pc:spChg chg="add del mod">
          <ac:chgData name="Srivaths Swaminathan" userId="fab820a8-d04c-4fb7-bc62-495e227921e9" providerId="ADAL" clId="{7BA84AA0-DF91-44A9-A18C-3379702B0E32}" dt="2023-09-07T09:31:29.626" v="37110" actId="948"/>
          <ac:spMkLst>
            <pc:docMk/>
            <pc:sldMk cId="1507409585" sldId="2147479621"/>
            <ac:spMk id="2" creationId="{A0A539C7-696A-7DF3-6837-C3696F000047}"/>
          </ac:spMkLst>
        </pc:spChg>
        <pc:spChg chg="mod">
          <ac:chgData name="Srivaths Swaminathan" userId="fab820a8-d04c-4fb7-bc62-495e227921e9" providerId="ADAL" clId="{7BA84AA0-DF91-44A9-A18C-3379702B0E32}" dt="2023-09-06T11:50:20.140" v="31790" actId="113"/>
          <ac:spMkLst>
            <pc:docMk/>
            <pc:sldMk cId="1507409585" sldId="2147479621"/>
            <ac:spMk id="3" creationId="{5ED6C8A5-FD0C-E265-84A2-47E65A1B8275}"/>
          </ac:spMkLst>
        </pc:spChg>
        <pc:spChg chg="mod">
          <ac:chgData name="Srivaths Swaminathan" userId="fab820a8-d04c-4fb7-bc62-495e227921e9" providerId="ADAL" clId="{7BA84AA0-DF91-44A9-A18C-3379702B0E32}" dt="2023-09-06T12:17:47.611" v="32376" actId="14100"/>
          <ac:spMkLst>
            <pc:docMk/>
            <pc:sldMk cId="1507409585" sldId="2147479621"/>
            <ac:spMk id="4" creationId="{88200F8F-B90B-3AEF-EC9E-717DBEFBACD6}"/>
          </ac:spMkLst>
        </pc:spChg>
        <pc:spChg chg="add del mod modVis">
          <ac:chgData name="Srivaths Swaminathan" userId="fab820a8-d04c-4fb7-bc62-495e227921e9" providerId="ADAL" clId="{7BA84AA0-DF91-44A9-A18C-3379702B0E32}" dt="2023-09-06T10:32:10.664" v="29024"/>
          <ac:spMkLst>
            <pc:docMk/>
            <pc:sldMk cId="1507409585" sldId="2147479621"/>
            <ac:spMk id="5" creationId="{4094E06D-1CE1-602F-CFE9-3A191B82F403}"/>
          </ac:spMkLst>
        </pc:spChg>
        <pc:spChg chg="add del mod modVis">
          <ac:chgData name="Srivaths Swaminathan" userId="fab820a8-d04c-4fb7-bc62-495e227921e9" providerId="ADAL" clId="{7BA84AA0-DF91-44A9-A18C-3379702B0E32}" dt="2023-09-07T09:31:20.542" v="37027"/>
          <ac:spMkLst>
            <pc:docMk/>
            <pc:sldMk cId="1507409585" sldId="2147479621"/>
            <ac:spMk id="5" creationId="{811D1AA5-F709-D0CD-32D8-A541B9C914A1}"/>
          </ac:spMkLst>
        </pc:spChg>
        <pc:spChg chg="add del mod modVis">
          <ac:chgData name="Srivaths Swaminathan" userId="fab820a8-d04c-4fb7-bc62-495e227921e9" providerId="ADAL" clId="{7BA84AA0-DF91-44A9-A18C-3379702B0E32}" dt="2023-08-21T08:48:22.388" v="19661"/>
          <ac:spMkLst>
            <pc:docMk/>
            <pc:sldMk cId="1507409585" sldId="2147479621"/>
            <ac:spMk id="5" creationId="{A0D33E08-E373-7B4E-A1CD-BBEF0D2FBF8C}"/>
          </ac:spMkLst>
        </pc:spChg>
        <pc:spChg chg="add del mod modVis">
          <ac:chgData name="Srivaths Swaminathan" userId="fab820a8-d04c-4fb7-bc62-495e227921e9" providerId="ADAL" clId="{7BA84AA0-DF91-44A9-A18C-3379702B0E32}" dt="2023-08-18T16:18:30.789" v="16448"/>
          <ac:spMkLst>
            <pc:docMk/>
            <pc:sldMk cId="1507409585" sldId="2147479621"/>
            <ac:spMk id="5" creationId="{ABEDC125-D26F-C9D9-9993-D0A18DA4333C}"/>
          </ac:spMkLst>
        </pc:spChg>
        <pc:spChg chg="mod">
          <ac:chgData name="Srivaths Swaminathan" userId="fab820a8-d04c-4fb7-bc62-495e227921e9" providerId="ADAL" clId="{7BA84AA0-DF91-44A9-A18C-3379702B0E32}" dt="2023-09-06T12:17:47.611" v="32376" actId="14100"/>
          <ac:spMkLst>
            <pc:docMk/>
            <pc:sldMk cId="1507409585" sldId="2147479621"/>
            <ac:spMk id="7" creationId="{485FD7B2-FB92-815C-45F0-FCCA05431D19}"/>
          </ac:spMkLst>
        </pc:spChg>
        <pc:spChg chg="mod">
          <ac:chgData name="Srivaths Swaminathan" userId="fab820a8-d04c-4fb7-bc62-495e227921e9" providerId="ADAL" clId="{7BA84AA0-DF91-44A9-A18C-3379702B0E32}" dt="2023-09-06T12:17:47.611" v="32376" actId="14100"/>
          <ac:spMkLst>
            <pc:docMk/>
            <pc:sldMk cId="1507409585" sldId="2147479621"/>
            <ac:spMk id="8" creationId="{6412EBE6-B8E1-E426-8024-4B16322734CD}"/>
          </ac:spMkLst>
        </pc:spChg>
        <pc:spChg chg="add del mod modVis">
          <ac:chgData name="Srivaths Swaminathan" userId="fab820a8-d04c-4fb7-bc62-495e227921e9" providerId="ADAL" clId="{7BA84AA0-DF91-44A9-A18C-3379702B0E32}" dt="2023-09-06T10:34:25.486" v="29112"/>
          <ac:spMkLst>
            <pc:docMk/>
            <pc:sldMk cId="1507409585" sldId="2147479621"/>
            <ac:spMk id="9" creationId="{174595D1-8216-ECD4-5E98-F510F101C8C3}"/>
          </ac:spMkLst>
        </pc:spChg>
        <pc:spChg chg="add del mod modVis">
          <ac:chgData name="Srivaths Swaminathan" userId="fab820a8-d04c-4fb7-bc62-495e227921e9" providerId="ADAL" clId="{7BA84AA0-DF91-44A9-A18C-3379702B0E32}" dt="2023-09-07T09:31:21.732" v="37055"/>
          <ac:spMkLst>
            <pc:docMk/>
            <pc:sldMk cId="1507409585" sldId="2147479621"/>
            <ac:spMk id="9" creationId="{6343F931-8DF3-67D1-273D-59AFACDDCE26}"/>
          </ac:spMkLst>
        </pc:spChg>
        <pc:spChg chg="add del mod modVis">
          <ac:chgData name="Srivaths Swaminathan" userId="fab820a8-d04c-4fb7-bc62-495e227921e9" providerId="ADAL" clId="{7BA84AA0-DF91-44A9-A18C-3379702B0E32}" dt="2023-08-18T16:18:38.612" v="16498"/>
          <ac:spMkLst>
            <pc:docMk/>
            <pc:sldMk cId="1507409585" sldId="2147479621"/>
            <ac:spMk id="9" creationId="{95CFD5A2-0859-834A-F1C0-A701452FA49F}"/>
          </ac:spMkLst>
        </pc:spChg>
        <pc:spChg chg="add del mod">
          <ac:chgData name="Srivaths Swaminathan" userId="fab820a8-d04c-4fb7-bc62-495e227921e9" providerId="ADAL" clId="{7BA84AA0-DF91-44A9-A18C-3379702B0E32}" dt="2023-08-23T17:34:37.557" v="24496" actId="478"/>
          <ac:spMkLst>
            <pc:docMk/>
            <pc:sldMk cId="1507409585" sldId="2147479621"/>
            <ac:spMk id="9" creationId="{F486B3C0-8B0E-2C72-11BD-6C9A78D2F4B1}"/>
          </ac:spMkLst>
        </pc:spChg>
        <pc:spChg chg="add del mod modVis">
          <ac:chgData name="Srivaths Swaminathan" userId="fab820a8-d04c-4fb7-bc62-495e227921e9" providerId="ADAL" clId="{7BA84AA0-DF91-44A9-A18C-3379702B0E32}" dt="2023-09-06T10:57:34.571" v="30094"/>
          <ac:spMkLst>
            <pc:docMk/>
            <pc:sldMk cId="1507409585" sldId="2147479621"/>
            <ac:spMk id="10" creationId="{1216F8CA-13FD-A076-D0E5-7A03DD01E1B2}"/>
          </ac:spMkLst>
        </pc:spChg>
        <pc:spChg chg="add mod">
          <ac:chgData name="Srivaths Swaminathan" userId="fab820a8-d04c-4fb7-bc62-495e227921e9" providerId="ADAL" clId="{7BA84AA0-DF91-44A9-A18C-3379702B0E32}" dt="2023-08-23T17:34:36.176" v="24488"/>
          <ac:spMkLst>
            <pc:docMk/>
            <pc:sldMk cId="1507409585" sldId="2147479621"/>
            <ac:spMk id="10" creationId="{51CAD945-B847-7F9B-EFF4-C037DD775B8D}"/>
          </ac:spMkLst>
        </pc:spChg>
        <pc:spChg chg="add del mod modVis">
          <ac:chgData name="Srivaths Swaminathan" userId="fab820a8-d04c-4fb7-bc62-495e227921e9" providerId="ADAL" clId="{7BA84AA0-DF91-44A9-A18C-3379702B0E32}" dt="2023-09-07T09:31:24.544" v="37090"/>
          <ac:spMkLst>
            <pc:docMk/>
            <pc:sldMk cId="1507409585" sldId="2147479621"/>
            <ac:spMk id="10" creationId="{8D848FC2-8730-B9AB-4308-95244FC8DBA1}"/>
          </ac:spMkLst>
        </pc:spChg>
        <pc:spChg chg="add del mod modVis">
          <ac:chgData name="Srivaths Swaminathan" userId="fab820a8-d04c-4fb7-bc62-495e227921e9" providerId="ADAL" clId="{7BA84AA0-DF91-44A9-A18C-3379702B0E32}" dt="2023-09-07T09:31:29.673" v="37134"/>
          <ac:spMkLst>
            <pc:docMk/>
            <pc:sldMk cId="1507409585" sldId="2147479621"/>
            <ac:spMk id="11" creationId="{54DD61B0-85ED-BC77-407C-D9E66B9D5D12}"/>
          </ac:spMkLst>
        </pc:spChg>
        <pc:spChg chg="add del mod modVis">
          <ac:chgData name="Srivaths Swaminathan" userId="fab820a8-d04c-4fb7-bc62-495e227921e9" providerId="ADAL" clId="{7BA84AA0-DF91-44A9-A18C-3379702B0E32}" dt="2023-08-23T17:34:54.338" v="24524"/>
          <ac:spMkLst>
            <pc:docMk/>
            <pc:sldMk cId="1507409585" sldId="2147479621"/>
            <ac:spMk id="11" creationId="{67804BDD-7548-3F80-8404-4C5FA7463042}"/>
          </ac:spMkLst>
        </pc:spChg>
        <pc:spChg chg="add del mod">
          <ac:chgData name="Srivaths Swaminathan" userId="fab820a8-d04c-4fb7-bc62-495e227921e9" providerId="ADAL" clId="{7BA84AA0-DF91-44A9-A18C-3379702B0E32}" dt="2023-09-06T11:36:36.293" v="31127" actId="478"/>
          <ac:spMkLst>
            <pc:docMk/>
            <pc:sldMk cId="1507409585" sldId="2147479621"/>
            <ac:spMk id="11" creationId="{774B170C-FECF-C1A4-A723-861A7078DF1B}"/>
          </ac:spMkLst>
        </pc:spChg>
        <pc:spChg chg="add del mod modVis">
          <ac:chgData name="Srivaths Swaminathan" userId="fab820a8-d04c-4fb7-bc62-495e227921e9" providerId="ADAL" clId="{7BA84AA0-DF91-44A9-A18C-3379702B0E32}" dt="2023-09-06T11:51:04.827" v="31835"/>
          <ac:spMkLst>
            <pc:docMk/>
            <pc:sldMk cId="1507409585" sldId="2147479621"/>
            <ac:spMk id="12" creationId="{B2BA0B11-E5B8-A8E9-7C3D-C6F301F47FC7}"/>
          </ac:spMkLst>
        </pc:spChg>
        <pc:spChg chg="add del mod modVis">
          <ac:chgData name="Srivaths Swaminathan" userId="fab820a8-d04c-4fb7-bc62-495e227921e9" providerId="ADAL" clId="{7BA84AA0-DF91-44A9-A18C-3379702B0E32}" dt="2023-08-23T17:34:58.383" v="24552"/>
          <ac:spMkLst>
            <pc:docMk/>
            <pc:sldMk cId="1507409585" sldId="2147479621"/>
            <ac:spMk id="12" creationId="{D8553D63-DA49-7872-D63B-E5D2AE3C5E58}"/>
          </ac:spMkLst>
        </pc:spChg>
        <pc:spChg chg="add del mod modVis">
          <ac:chgData name="Srivaths Swaminathan" userId="fab820a8-d04c-4fb7-bc62-495e227921e9" providerId="ADAL" clId="{7BA84AA0-DF91-44A9-A18C-3379702B0E32}" dt="2023-09-06T11:51:09.457" v="31886"/>
          <ac:spMkLst>
            <pc:docMk/>
            <pc:sldMk cId="1507409585" sldId="2147479621"/>
            <ac:spMk id="13" creationId="{9FD9A4BF-1951-7F1A-742D-9BF34C5AAF10}"/>
          </ac:spMkLst>
        </pc:spChg>
        <pc:spChg chg="add del mod modVis">
          <ac:chgData name="Srivaths Swaminathan" userId="fab820a8-d04c-4fb7-bc62-495e227921e9" providerId="ADAL" clId="{7BA84AA0-DF91-44A9-A18C-3379702B0E32}" dt="2023-09-06T11:51:11.308" v="31925"/>
          <ac:spMkLst>
            <pc:docMk/>
            <pc:sldMk cId="1507409585" sldId="2147479621"/>
            <ac:spMk id="14" creationId="{6D3BABF5-1BEC-B0C2-4B4C-CC82843761B6}"/>
          </ac:spMkLst>
        </pc:spChg>
        <pc:spChg chg="mod">
          <ac:chgData name="Srivaths Swaminathan" userId="fab820a8-d04c-4fb7-bc62-495e227921e9" providerId="ADAL" clId="{7BA84AA0-DF91-44A9-A18C-3379702B0E32}" dt="2023-09-07T08:25:21.796" v="36978" actId="20577"/>
          <ac:spMkLst>
            <pc:docMk/>
            <pc:sldMk cId="1507409585" sldId="2147479621"/>
            <ac:spMk id="15" creationId="{1B3B647A-55A4-F415-39AD-FF3A993370A0}"/>
          </ac:spMkLst>
        </pc:spChg>
        <pc:spChg chg="mod">
          <ac:chgData name="Srivaths Swaminathan" userId="fab820a8-d04c-4fb7-bc62-495e227921e9" providerId="ADAL" clId="{7BA84AA0-DF91-44A9-A18C-3379702B0E32}" dt="2023-09-06T11:49:59.213" v="31786" actId="113"/>
          <ac:spMkLst>
            <pc:docMk/>
            <pc:sldMk cId="1507409585" sldId="2147479621"/>
            <ac:spMk id="16" creationId="{35E08D05-7AD8-F49F-BAC2-1310A91050AE}"/>
          </ac:spMkLst>
        </pc:spChg>
        <pc:spChg chg="mod">
          <ac:chgData name="Srivaths Swaminathan" userId="fab820a8-d04c-4fb7-bc62-495e227921e9" providerId="ADAL" clId="{7BA84AA0-DF91-44A9-A18C-3379702B0E32}" dt="2023-09-06T11:32:26.459" v="30780" actId="1035"/>
          <ac:spMkLst>
            <pc:docMk/>
            <pc:sldMk cId="1507409585" sldId="2147479621"/>
            <ac:spMk id="17" creationId="{7062E827-77F2-F22B-2B14-860AA6809B1E}"/>
          </ac:spMkLst>
        </pc:spChg>
        <pc:spChg chg="add del mod modVis">
          <ac:chgData name="Srivaths Swaminathan" userId="fab820a8-d04c-4fb7-bc62-495e227921e9" providerId="ADAL" clId="{7BA84AA0-DF91-44A9-A18C-3379702B0E32}" dt="2023-09-06T11:51:15.735" v="31954"/>
          <ac:spMkLst>
            <pc:docMk/>
            <pc:sldMk cId="1507409585" sldId="2147479621"/>
            <ac:spMk id="18" creationId="{45BB38BB-D060-EDDF-BA19-559938696235}"/>
          </ac:spMkLst>
        </pc:spChg>
        <pc:spChg chg="mod">
          <ac:chgData name="Srivaths Swaminathan" userId="fab820a8-d04c-4fb7-bc62-495e227921e9" providerId="ADAL" clId="{7BA84AA0-DF91-44A9-A18C-3379702B0E32}" dt="2023-09-06T11:46:58.734" v="31669" actId="20577"/>
          <ac:spMkLst>
            <pc:docMk/>
            <pc:sldMk cId="1507409585" sldId="2147479621"/>
            <ac:spMk id="22" creationId="{6B103AA0-AEC2-6421-4F2A-45341979275A}"/>
          </ac:spMkLst>
        </pc:spChg>
        <pc:spChg chg="mod">
          <ac:chgData name="Srivaths Swaminathan" userId="fab820a8-d04c-4fb7-bc62-495e227921e9" providerId="ADAL" clId="{7BA84AA0-DF91-44A9-A18C-3379702B0E32}" dt="2023-09-06T11:44:21.639" v="31558" actId="554"/>
          <ac:spMkLst>
            <pc:docMk/>
            <pc:sldMk cId="1507409585" sldId="2147479621"/>
            <ac:spMk id="23" creationId="{5B9AC56B-9744-E608-A840-7437A9352C95}"/>
          </ac:spMkLst>
        </pc:spChg>
        <pc:spChg chg="mod">
          <ac:chgData name="Srivaths Swaminathan" userId="fab820a8-d04c-4fb7-bc62-495e227921e9" providerId="ADAL" clId="{7BA84AA0-DF91-44A9-A18C-3379702B0E32}" dt="2023-09-06T11:46:23.701" v="31567" actId="20577"/>
          <ac:spMkLst>
            <pc:docMk/>
            <pc:sldMk cId="1507409585" sldId="2147479621"/>
            <ac:spMk id="24" creationId="{D26FDA03-C165-AE13-328B-1E2C148FA5F1}"/>
          </ac:spMkLst>
        </pc:spChg>
        <pc:spChg chg="mod">
          <ac:chgData name="Srivaths Swaminathan" userId="fab820a8-d04c-4fb7-bc62-495e227921e9" providerId="ADAL" clId="{7BA84AA0-DF91-44A9-A18C-3379702B0E32}" dt="2023-09-06T12:18:15.353" v="32377" actId="403"/>
          <ac:spMkLst>
            <pc:docMk/>
            <pc:sldMk cId="1507409585" sldId="2147479621"/>
            <ac:spMk id="25" creationId="{E643EA8A-E312-5430-4907-8F5417826CF0}"/>
          </ac:spMkLst>
        </pc:spChg>
        <pc:spChg chg="mod">
          <ac:chgData name="Srivaths Swaminathan" userId="fab820a8-d04c-4fb7-bc62-495e227921e9" providerId="ADAL" clId="{7BA84AA0-DF91-44A9-A18C-3379702B0E32}" dt="2023-09-07T09:00:44.022" v="36998" actId="1037"/>
          <ac:spMkLst>
            <pc:docMk/>
            <pc:sldMk cId="1507409585" sldId="2147479621"/>
            <ac:spMk id="30" creationId="{AF13E415-E5DD-55D0-7549-EFDA1DC5C989}"/>
          </ac:spMkLst>
        </pc:spChg>
        <pc:spChg chg="mod">
          <ac:chgData name="Srivaths Swaminathan" userId="fab820a8-d04c-4fb7-bc62-495e227921e9" providerId="ADAL" clId="{7BA84AA0-DF91-44A9-A18C-3379702B0E32}" dt="2023-09-06T11:32:26.459" v="30780" actId="1035"/>
          <ac:spMkLst>
            <pc:docMk/>
            <pc:sldMk cId="1507409585" sldId="2147479621"/>
            <ac:spMk id="31" creationId="{EC77D846-A4CD-FA54-68F1-DA4717816C5F}"/>
          </ac:spMkLst>
        </pc:spChg>
        <pc:spChg chg="mod">
          <ac:chgData name="Srivaths Swaminathan" userId="fab820a8-d04c-4fb7-bc62-495e227921e9" providerId="ADAL" clId="{7BA84AA0-DF91-44A9-A18C-3379702B0E32}" dt="2023-09-06T11:32:26.459" v="30780" actId="1035"/>
          <ac:spMkLst>
            <pc:docMk/>
            <pc:sldMk cId="1507409585" sldId="2147479621"/>
            <ac:spMk id="32" creationId="{9FF5CDFA-1489-0B41-139F-A4D645850C9A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3" creationId="{E658D722-ABEA-8D09-888F-D256ABB137C2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4" creationId="{C44BA00D-08B2-5BCA-970F-DC875BF215D7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5" creationId="{1A425966-2479-DB50-9259-398C6C9514D0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6" creationId="{23E78714-5ED8-8D3C-8FD3-971C6DDEEF58}"/>
          </ac:spMkLst>
        </pc:spChg>
        <pc:spChg chg="del mod">
          <ac:chgData name="Srivaths Swaminathan" userId="fab820a8-d04c-4fb7-bc62-495e227921e9" providerId="ADAL" clId="{7BA84AA0-DF91-44A9-A18C-3379702B0E32}" dt="2023-09-06T10:43:55.382" v="29472" actId="478"/>
          <ac:spMkLst>
            <pc:docMk/>
            <pc:sldMk cId="1507409585" sldId="2147479621"/>
            <ac:spMk id="37" creationId="{71F58665-5E3F-2EAA-A81C-94236DCF7ADA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8" creationId="{16CF8192-B5CC-4760-C31C-78CEE6DAC50C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39" creationId="{BD000EAB-4B70-8E6B-6021-3063DB206089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40" creationId="{381BA8DC-9F5F-88B7-147C-E091F649CB55}"/>
          </ac:spMkLst>
        </pc:spChg>
        <pc:spChg chg="del mod">
          <ac:chgData name="Srivaths Swaminathan" userId="fab820a8-d04c-4fb7-bc62-495e227921e9" providerId="ADAL" clId="{7BA84AA0-DF91-44A9-A18C-3379702B0E32}" dt="2023-09-06T10:33:52.726" v="29086" actId="478"/>
          <ac:spMkLst>
            <pc:docMk/>
            <pc:sldMk cId="1507409585" sldId="2147479621"/>
            <ac:spMk id="41" creationId="{9E4EFC0B-2651-52C2-3640-37107D97D928}"/>
          </ac:spMkLst>
        </pc:spChg>
        <pc:graphicFrameChg chg="mod">
          <ac:chgData name="Srivaths Swaminathan" userId="fab820a8-d04c-4fb7-bc62-495e227921e9" providerId="ADAL" clId="{7BA84AA0-DF91-44A9-A18C-3379702B0E32}" dt="2023-09-07T09:31:29.677" v="37136"/>
          <ac:graphicFrameMkLst>
            <pc:docMk/>
            <pc:sldMk cId="1507409585" sldId="2147479621"/>
            <ac:graphicFrameMk id="6" creationId="{EDFA9C19-2135-724C-1613-9349AE517837}"/>
          </ac:graphicFrameMkLst>
        </pc:graphicFrameChg>
      </pc:sldChg>
      <pc:sldChg chg="modSp del mo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588956228" sldId="2147479622"/>
        </pc:sldMkLst>
        <pc:spChg chg="mod">
          <ac:chgData name="Srivaths Swaminathan" userId="fab820a8-d04c-4fb7-bc62-495e227921e9" providerId="ADAL" clId="{7BA84AA0-DF91-44A9-A18C-3379702B0E32}" dt="2023-08-23T18:08:30.782" v="25356" actId="1076"/>
          <ac:spMkLst>
            <pc:docMk/>
            <pc:sldMk cId="1588956228" sldId="2147479622"/>
            <ac:spMk id="37" creationId="{71F58665-5E3F-2EAA-A81C-94236DCF7ADA}"/>
          </ac:spMkLst>
        </pc:spChg>
      </pc:sldChg>
      <pc:sldChg chg="addSp delSp modSp add mod delCm modCm">
        <pc:chgData name="Srivaths Swaminathan" userId="fab820a8-d04c-4fb7-bc62-495e227921e9" providerId="ADAL" clId="{7BA84AA0-DF91-44A9-A18C-3379702B0E32}" dt="2023-08-24T10:35:41.343" v="26394" actId="20577"/>
        <pc:sldMkLst>
          <pc:docMk/>
          <pc:sldMk cId="3217091560" sldId="2147479623"/>
        </pc:sldMkLst>
        <pc:spChg chg="mod">
          <ac:chgData name="Srivaths Swaminathan" userId="fab820a8-d04c-4fb7-bc62-495e227921e9" providerId="ADAL" clId="{7BA84AA0-DF91-44A9-A18C-3379702B0E32}" dt="2023-08-23T11:29:03.860" v="21986" actId="20577"/>
          <ac:spMkLst>
            <pc:docMk/>
            <pc:sldMk cId="3217091560" sldId="2147479623"/>
            <ac:spMk id="2" creationId="{D98D80AA-65A6-047C-E185-742724C6CEFE}"/>
          </ac:spMkLst>
        </pc:spChg>
        <pc:spChg chg="del mod">
          <ac:chgData name="Srivaths Swaminathan" userId="fab820a8-d04c-4fb7-bc62-495e227921e9" providerId="ADAL" clId="{7BA84AA0-DF91-44A9-A18C-3379702B0E32}" dt="2023-08-23T10:55:15.942" v="20884" actId="478"/>
          <ac:spMkLst>
            <pc:docMk/>
            <pc:sldMk cId="3217091560" sldId="2147479623"/>
            <ac:spMk id="3" creationId="{A4C10CB4-FF55-AAA8-AAEB-44A5B5072F4E}"/>
          </ac:spMkLst>
        </pc:spChg>
        <pc:spChg chg="add mod">
          <ac:chgData name="Srivaths Swaminathan" userId="fab820a8-d04c-4fb7-bc62-495e227921e9" providerId="ADAL" clId="{7BA84AA0-DF91-44A9-A18C-3379702B0E32}" dt="2023-08-23T11:30:06.144" v="22012" actId="1076"/>
          <ac:spMkLst>
            <pc:docMk/>
            <pc:sldMk cId="3217091560" sldId="2147479623"/>
            <ac:spMk id="4" creationId="{DC7A5295-3C71-E658-B486-59B5540B2B09}"/>
          </ac:spMkLst>
        </pc:spChg>
        <pc:spChg chg="add mod">
          <ac:chgData name="Srivaths Swaminathan" userId="fab820a8-d04c-4fb7-bc62-495e227921e9" providerId="ADAL" clId="{7BA84AA0-DF91-44A9-A18C-3379702B0E32}" dt="2023-08-24T10:35:41.343" v="26394" actId="20577"/>
          <ac:spMkLst>
            <pc:docMk/>
            <pc:sldMk cId="3217091560" sldId="2147479623"/>
            <ac:spMk id="26" creationId="{3AF5B89D-6CCD-CDB0-72FC-77C0E3022724}"/>
          </ac:spMkLst>
        </pc:spChg>
        <pc:spChg chg="add mod">
          <ac:chgData name="Srivaths Swaminathan" userId="fab820a8-d04c-4fb7-bc62-495e227921e9" providerId="ADAL" clId="{7BA84AA0-DF91-44A9-A18C-3379702B0E32}" dt="2023-08-23T17:09:27.466" v="24190" actId="1076"/>
          <ac:spMkLst>
            <pc:docMk/>
            <pc:sldMk cId="3217091560" sldId="2147479623"/>
            <ac:spMk id="27" creationId="{7C295163-E138-E7E1-0090-10F524E338BF}"/>
          </ac:spMkLst>
        </pc:spChg>
        <pc:spChg chg="del mod">
          <ac:chgData name="Srivaths Swaminathan" userId="fab820a8-d04c-4fb7-bc62-495e227921e9" providerId="ADAL" clId="{7BA84AA0-DF91-44A9-A18C-3379702B0E32}" dt="2023-08-23T11:25:29.429" v="21809" actId="478"/>
          <ac:spMkLst>
            <pc:docMk/>
            <pc:sldMk cId="3217091560" sldId="2147479623"/>
            <ac:spMk id="31" creationId="{3BE94753-A111-9D31-0BE5-C1DFA572821C}"/>
          </ac:spMkLst>
        </pc:spChg>
        <pc:spChg chg="del">
          <ac:chgData name="Srivaths Swaminathan" userId="fab820a8-d04c-4fb7-bc62-495e227921e9" providerId="ADAL" clId="{7BA84AA0-DF91-44A9-A18C-3379702B0E32}" dt="2023-08-23T10:58:12.310" v="20885" actId="478"/>
          <ac:spMkLst>
            <pc:docMk/>
            <pc:sldMk cId="3217091560" sldId="2147479623"/>
            <ac:spMk id="37" creationId="{842E1871-4ADA-8587-5F82-818D9E6A71A7}"/>
          </ac:spMkLst>
        </pc:spChg>
        <pc:spChg chg="mod">
          <ac:chgData name="Srivaths Swaminathan" userId="fab820a8-d04c-4fb7-bc62-495e227921e9" providerId="ADAL" clId="{7BA84AA0-DF91-44A9-A18C-3379702B0E32}" dt="2023-08-23T17:09:39.427" v="24192" actId="1037"/>
          <ac:spMkLst>
            <pc:docMk/>
            <pc:sldMk cId="3217091560" sldId="2147479623"/>
            <ac:spMk id="40" creationId="{AF68FAB1-A6E7-4361-D5C9-1C222F977D68}"/>
          </ac:spMkLst>
        </pc:spChg>
        <pc:spChg chg="mod">
          <ac:chgData name="Srivaths Swaminathan" userId="fab820a8-d04c-4fb7-bc62-495e227921e9" providerId="ADAL" clId="{7BA84AA0-DF91-44A9-A18C-3379702B0E32}" dt="2023-08-23T17:09:39.427" v="24192" actId="1037"/>
          <ac:spMkLst>
            <pc:docMk/>
            <pc:sldMk cId="3217091560" sldId="2147479623"/>
            <ac:spMk id="41" creationId="{B999F815-4512-5E66-15B3-4169F9A27151}"/>
          </ac:spMkLst>
        </pc:spChg>
        <pc:spChg chg="mod">
          <ac:chgData name="Srivaths Swaminathan" userId="fab820a8-d04c-4fb7-bc62-495e227921e9" providerId="ADAL" clId="{7BA84AA0-DF91-44A9-A18C-3379702B0E32}" dt="2023-08-23T17:09:39.427" v="24192" actId="1037"/>
          <ac:spMkLst>
            <pc:docMk/>
            <pc:sldMk cId="3217091560" sldId="2147479623"/>
            <ac:spMk id="42" creationId="{D8224FC9-9869-C884-40A8-2D3940AB6223}"/>
          </ac:spMkLst>
        </pc:spChg>
        <pc:spChg chg="mod">
          <ac:chgData name="Srivaths Swaminathan" userId="fab820a8-d04c-4fb7-bc62-495e227921e9" providerId="ADAL" clId="{7BA84AA0-DF91-44A9-A18C-3379702B0E32}" dt="2023-08-23T17:09:39.427" v="24192" actId="1037"/>
          <ac:spMkLst>
            <pc:docMk/>
            <pc:sldMk cId="3217091560" sldId="2147479623"/>
            <ac:spMk id="43" creationId="{04CA4254-8842-69E6-D042-3AB80B2C2F80}"/>
          </ac:spMkLst>
        </pc:spChg>
        <pc:spChg chg="del">
          <ac:chgData name="Srivaths Swaminathan" userId="fab820a8-d04c-4fb7-bc62-495e227921e9" providerId="ADAL" clId="{7BA84AA0-DF91-44A9-A18C-3379702B0E32}" dt="2023-08-23T11:25:20.244" v="21807" actId="478"/>
          <ac:spMkLst>
            <pc:docMk/>
            <pc:sldMk cId="3217091560" sldId="2147479623"/>
            <ac:spMk id="46" creationId="{0F23834F-C1EF-BA93-D560-8677F3F48141}"/>
          </ac:spMkLst>
        </pc:s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5" creationId="{6334D6F6-96A7-F339-30EB-86592F3B0B8B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6" creationId="{763A28FE-2AE9-1FF0-E376-DF1BED9EC410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7" creationId="{E9E96D2B-FB64-A062-C8C4-0970AE01827F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8" creationId="{1EEC1139-17F6-FCF3-153F-7197A6FF9560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9" creationId="{CBB6FCDC-CC66-5619-198A-4E354855DC98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10" creationId="{A6BBC82C-49A1-D0E1-761E-3E34910F4089}"/>
          </ac:grpSpMkLst>
        </pc:grpChg>
        <pc:grpChg chg="del">
          <ac:chgData name="Srivaths Swaminathan" userId="fab820a8-d04c-4fb7-bc62-495e227921e9" providerId="ADAL" clId="{7BA84AA0-DF91-44A9-A18C-3379702B0E32}" dt="2023-08-23T10:58:12.310" v="20885" actId="478"/>
          <ac:grpSpMkLst>
            <pc:docMk/>
            <pc:sldMk cId="3217091560" sldId="2147479623"/>
            <ac:grpSpMk id="11" creationId="{939B97B1-4DD5-24D6-F13A-D6F4105EE765}"/>
          </ac:grpSpMkLst>
        </pc:grpChg>
        <pc:graphicFrameChg chg="mod">
          <ac:chgData name="Srivaths Swaminathan" userId="fab820a8-d04c-4fb7-bc62-495e227921e9" providerId="ADAL" clId="{7BA84AA0-DF91-44A9-A18C-3379702B0E32}" dt="2023-08-23T17:09:39.427" v="24192" actId="1037"/>
          <ac:graphicFrameMkLst>
            <pc:docMk/>
            <pc:sldMk cId="3217091560" sldId="2147479623"/>
            <ac:graphicFrameMk id="35" creationId="{D9D69686-F105-0AEF-375C-16206EC8AD35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0:58:22.319" v="20889"/>
              <pc2:cmMkLst xmlns:pc2="http://schemas.microsoft.com/office/powerpoint/2019/9/main/command">
                <pc:docMk/>
                <pc:sldMk cId="3217091560" sldId="2147479623"/>
                <pc2:cmMk id="{2DBE4215-83F9-405B-B3CA-92212DAE04EA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23T10:58:16.535" v="20887"/>
              <pc2:cmMkLst xmlns:pc2="http://schemas.microsoft.com/office/powerpoint/2019/9/main/command">
                <pc:docMk/>
                <pc:sldMk cId="3217091560" sldId="2147479623"/>
                <pc2:cmMk id="{80774E58-DE19-415F-9346-9FC2456853C8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23T10:58:18.945" v="20888"/>
              <pc2:cmMkLst xmlns:pc2="http://schemas.microsoft.com/office/powerpoint/2019/9/main/command">
                <pc:docMk/>
                <pc:sldMk cId="3217091560" sldId="2147479623"/>
                <pc2:cmMk id="{FA3E42DE-9556-4EB8-BE84-2024447F212B}"/>
              </pc2:cmMkLst>
            </pc226:cmChg>
          </p:ext>
        </pc:extLst>
      </pc:sldChg>
      <pc:sldChg chg="addSp delSp modSp add mod addCm delCm modCm">
        <pc:chgData name="Srivaths Swaminathan" userId="fab820a8-d04c-4fb7-bc62-495e227921e9" providerId="ADAL" clId="{7BA84AA0-DF91-44A9-A18C-3379702B0E32}" dt="2023-08-30T17:10:15.512" v="28716"/>
        <pc:sldMkLst>
          <pc:docMk/>
          <pc:sldMk cId="3842725813" sldId="2147479624"/>
        </pc:sldMkLst>
        <pc:spChg chg="mod">
          <ac:chgData name="Srivaths Swaminathan" userId="fab820a8-d04c-4fb7-bc62-495e227921e9" providerId="ADAL" clId="{7BA84AA0-DF91-44A9-A18C-3379702B0E32}" dt="2023-08-23T11:28:48.351" v="21984" actId="20577"/>
          <ac:spMkLst>
            <pc:docMk/>
            <pc:sldMk cId="3842725813" sldId="2147479624"/>
            <ac:spMk id="2" creationId="{D98D80AA-65A6-047C-E185-742724C6CEFE}"/>
          </ac:spMkLst>
        </pc:spChg>
        <pc:spChg chg="del">
          <ac:chgData name="Srivaths Swaminathan" userId="fab820a8-d04c-4fb7-bc62-495e227921e9" providerId="ADAL" clId="{7BA84AA0-DF91-44A9-A18C-3379702B0E32}" dt="2023-08-23T11:02:31.505" v="21070" actId="478"/>
          <ac:spMkLst>
            <pc:docMk/>
            <pc:sldMk cId="3842725813" sldId="2147479624"/>
            <ac:spMk id="3" creationId="{A4C10CB4-FF55-AAA8-AAEB-44A5B5072F4E}"/>
          </ac:spMkLst>
        </pc:spChg>
        <pc:spChg chg="add mod">
          <ac:chgData name="Srivaths Swaminathan" userId="fab820a8-d04c-4fb7-bc62-495e227921e9" providerId="ADAL" clId="{7BA84AA0-DF91-44A9-A18C-3379702B0E32}" dt="2023-08-23T15:13:08.314" v="22394" actId="20577"/>
          <ac:spMkLst>
            <pc:docMk/>
            <pc:sldMk cId="3842725813" sldId="2147479624"/>
            <ac:spMk id="26" creationId="{6C582F75-9109-CF7E-A08F-EF0DA6E8CFB9}"/>
          </ac:spMkLst>
        </pc:spChg>
        <pc:spChg chg="add mod">
          <ac:chgData name="Srivaths Swaminathan" userId="fab820a8-d04c-4fb7-bc62-495e227921e9" providerId="ADAL" clId="{7BA84AA0-DF91-44A9-A18C-3379702B0E32}" dt="2023-08-23T11:25:12.346" v="21806"/>
          <ac:spMkLst>
            <pc:docMk/>
            <pc:sldMk cId="3842725813" sldId="2147479624"/>
            <ac:spMk id="27" creationId="{F2D54D1B-F985-349C-4D79-D5D0DCCF862E}"/>
          </ac:spMkLst>
        </pc:spChg>
        <pc:spChg chg="add del mod">
          <ac:chgData name="Srivaths Swaminathan" userId="fab820a8-d04c-4fb7-bc62-495e227921e9" providerId="ADAL" clId="{7BA84AA0-DF91-44A9-A18C-3379702B0E32}" dt="2023-08-23T17:02:10.591" v="24085" actId="478"/>
          <ac:spMkLst>
            <pc:docMk/>
            <pc:sldMk cId="3842725813" sldId="2147479624"/>
            <ac:spMk id="28" creationId="{6AB3C9EC-361F-6285-3C0D-D16B8A67770D}"/>
          </ac:spMkLst>
        </pc:spChg>
        <pc:spChg chg="add mod">
          <ac:chgData name="Srivaths Swaminathan" userId="fab820a8-d04c-4fb7-bc62-495e227921e9" providerId="ADAL" clId="{7BA84AA0-DF91-44A9-A18C-3379702B0E32}" dt="2023-08-23T17:03:05.482" v="24107" actId="20577"/>
          <ac:spMkLst>
            <pc:docMk/>
            <pc:sldMk cId="3842725813" sldId="2147479624"/>
            <ac:spMk id="29" creationId="{2F981CB9-B456-E588-DC7E-20C5876A7254}"/>
          </ac:spMkLst>
        </pc:spChg>
        <pc:spChg chg="del mod">
          <ac:chgData name="Srivaths Swaminathan" userId="fab820a8-d04c-4fb7-bc62-495e227921e9" providerId="ADAL" clId="{7BA84AA0-DF91-44A9-A18C-3379702B0E32}" dt="2023-08-23T11:23:52.766" v="21639" actId="478"/>
          <ac:spMkLst>
            <pc:docMk/>
            <pc:sldMk cId="3842725813" sldId="2147479624"/>
            <ac:spMk id="31" creationId="{3BE94753-A111-9D31-0BE5-C1DFA572821C}"/>
          </ac:spMkLst>
        </pc:spChg>
        <pc:spChg chg="del">
          <ac:chgData name="Srivaths Swaminathan" userId="fab820a8-d04c-4fb7-bc62-495e227921e9" providerId="ADAL" clId="{7BA84AA0-DF91-44A9-A18C-3379702B0E32}" dt="2023-08-23T11:02:31.505" v="21070" actId="478"/>
          <ac:spMkLst>
            <pc:docMk/>
            <pc:sldMk cId="3842725813" sldId="2147479624"/>
            <ac:spMk id="37" creationId="{842E1871-4ADA-8587-5F82-818D9E6A71A7}"/>
          </ac:spMkLst>
        </pc:spChg>
        <pc:spChg chg="del">
          <ac:chgData name="Srivaths Swaminathan" userId="fab820a8-d04c-4fb7-bc62-495e227921e9" providerId="ADAL" clId="{7BA84AA0-DF91-44A9-A18C-3379702B0E32}" dt="2023-08-23T11:25:11.904" v="21805" actId="478"/>
          <ac:spMkLst>
            <pc:docMk/>
            <pc:sldMk cId="3842725813" sldId="2147479624"/>
            <ac:spMk id="46" creationId="{0F23834F-C1EF-BA93-D560-8677F3F48141}"/>
          </ac:spMkLst>
        </pc:s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5" creationId="{6334D6F6-96A7-F339-30EB-86592F3B0B8B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6" creationId="{763A28FE-2AE9-1FF0-E376-DF1BED9EC410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7" creationId="{E9E96D2B-FB64-A062-C8C4-0970AE01827F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8" creationId="{1EEC1139-17F6-FCF3-153F-7197A6FF9560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9" creationId="{CBB6FCDC-CC66-5619-198A-4E354855DC98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10" creationId="{A6BBC82C-49A1-D0E1-761E-3E34910F4089}"/>
          </ac:grpSpMkLst>
        </pc:grpChg>
        <pc:grpChg chg="del">
          <ac:chgData name="Srivaths Swaminathan" userId="fab820a8-d04c-4fb7-bc62-495e227921e9" providerId="ADAL" clId="{7BA84AA0-DF91-44A9-A18C-3379702B0E32}" dt="2023-08-23T11:02:31.505" v="21070" actId="478"/>
          <ac:grpSpMkLst>
            <pc:docMk/>
            <pc:sldMk cId="3842725813" sldId="2147479624"/>
            <ac:grpSpMk id="11" creationId="{939B97B1-4DD5-24D6-F13A-D6F4105EE765}"/>
          </ac:grpSpMkLst>
        </pc:grpChg>
        <pc:graphicFrameChg chg="mod modGraphic">
          <ac:chgData name="Srivaths Swaminathan" userId="fab820a8-d04c-4fb7-bc62-495e227921e9" providerId="ADAL" clId="{7BA84AA0-DF91-44A9-A18C-3379702B0E32}" dt="2023-08-23T17:02:46.906" v="24105"/>
          <ac:graphicFrameMkLst>
            <pc:docMk/>
            <pc:sldMk cId="3842725813" sldId="2147479624"/>
            <ac:graphicFrameMk id="4" creationId="{3D513BEC-16DB-7978-0FB4-78267969B2D7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23T11:27:52.471" v="21976"/>
              <pc2:cmMkLst xmlns:pc2="http://schemas.microsoft.com/office/powerpoint/2019/9/main/command">
                <pc:docMk/>
                <pc:sldMk cId="3842725813" sldId="2147479624"/>
                <pc2:cmMk id="{572E5C1F-B122-4818-88BE-7F754FBEBD67}"/>
              </pc2:cmMkLst>
            </pc226:cmChg>
            <pc226:cmChg xmlns:pc226="http://schemas.microsoft.com/office/powerpoint/2022/06/main/command" chg="del">
              <pc226:chgData name="Srivaths Swaminathan" userId="fab820a8-d04c-4fb7-bc62-495e227921e9" providerId="ADAL" clId="{7BA84AA0-DF91-44A9-A18C-3379702B0E32}" dt="2023-08-23T11:27:36.904" v="21975"/>
              <pc2:cmMkLst xmlns:pc2="http://schemas.microsoft.com/office/powerpoint/2019/9/main/command">
                <pc:docMk/>
                <pc:sldMk cId="3842725813" sldId="2147479624"/>
                <pc2:cmMk id="{3FCDA921-E106-42F6-91CD-80B42FECF92C}"/>
              </pc2:cmMkLst>
            </pc226:cmChg>
            <pc226:cmChg xmlns:pc226="http://schemas.microsoft.com/office/powerpoint/2022/06/main/command" chg="add del">
              <pc226:chgData name="Srivaths Swaminathan" userId="fab820a8-d04c-4fb7-bc62-495e227921e9" providerId="ADAL" clId="{7BA84AA0-DF91-44A9-A18C-3379702B0E32}" dt="2023-08-30T17:10:15.512" v="28716"/>
              <pc2:cmMkLst xmlns:pc2="http://schemas.microsoft.com/office/powerpoint/2019/9/main/command">
                <pc:docMk/>
                <pc:sldMk cId="3842725813" sldId="2147479624"/>
                <pc2:cmMk id="{3436C7B8-F838-40ED-8899-A55258DB16D8}"/>
              </pc2:cmMkLst>
            </pc226:cmChg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1:27:55.188" v="21977"/>
              <pc2:cmMkLst xmlns:pc2="http://schemas.microsoft.com/office/powerpoint/2019/9/main/command">
                <pc:docMk/>
                <pc:sldMk cId="3842725813" sldId="2147479624"/>
                <pc2:cmMk id="{9B1364E2-25D1-43B9-8A71-3A4E47422159}"/>
              </pc2:cmMkLst>
            </pc226:cmChg>
          </p:ext>
        </pc:extLst>
      </pc:sldChg>
      <pc:sldChg chg="add 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1731236704" sldId="2147479625"/>
        </pc:sldMkLst>
      </pc:sldChg>
      <pc:sldChg chg="add del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602727486" sldId="2147479626"/>
        </pc:sldMkLst>
      </pc:sldChg>
      <pc:sldChg chg="addSp delSp modSp add del mod ord addCm delCm modCm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652394226" sldId="2147479627"/>
        </pc:sldMkLst>
        <pc:spChg chg="add del mod">
          <ac:chgData name="Srivaths Swaminathan" userId="fab820a8-d04c-4fb7-bc62-495e227921e9" providerId="ADAL" clId="{7BA84AA0-DF91-44A9-A18C-3379702B0E32}" dt="2023-08-23T17:42:08.786" v="24567" actId="1076"/>
          <ac:spMkLst>
            <pc:docMk/>
            <pc:sldMk cId="2652394226" sldId="2147479627"/>
            <ac:spMk id="2" creationId="{A0A539C7-696A-7DF3-6837-C3696F000047}"/>
          </ac:spMkLst>
        </pc:spChg>
        <pc:spChg chg="del">
          <ac:chgData name="Srivaths Swaminathan" userId="fab820a8-d04c-4fb7-bc62-495e227921e9" providerId="ADAL" clId="{7BA84AA0-DF91-44A9-A18C-3379702B0E32}" dt="2023-08-23T17:42:29.063" v="24573" actId="478"/>
          <ac:spMkLst>
            <pc:docMk/>
            <pc:sldMk cId="2652394226" sldId="2147479627"/>
            <ac:spMk id="3" creationId="{5ED6C8A5-FD0C-E265-84A2-47E65A1B8275}"/>
          </ac:spMkLst>
        </pc:spChg>
        <pc:spChg chg="del">
          <ac:chgData name="Srivaths Swaminathan" userId="fab820a8-d04c-4fb7-bc62-495e227921e9" providerId="ADAL" clId="{7BA84AA0-DF91-44A9-A18C-3379702B0E32}" dt="2023-08-23T17:42:04.323" v="24556" actId="478"/>
          <ac:spMkLst>
            <pc:docMk/>
            <pc:sldMk cId="2652394226" sldId="2147479627"/>
            <ac:spMk id="4" creationId="{88200F8F-B90B-3AEF-EC9E-717DBEFBACD6}"/>
          </ac:spMkLst>
        </pc:spChg>
        <pc:spChg chg="del">
          <ac:chgData name="Srivaths Swaminathan" userId="fab820a8-d04c-4fb7-bc62-495e227921e9" providerId="ADAL" clId="{7BA84AA0-DF91-44A9-A18C-3379702B0E32}" dt="2023-08-23T17:42:04.323" v="24556" actId="478"/>
          <ac:spMkLst>
            <pc:docMk/>
            <pc:sldMk cId="2652394226" sldId="2147479627"/>
            <ac:spMk id="7" creationId="{485FD7B2-FB92-815C-45F0-FCCA05431D19}"/>
          </ac:spMkLst>
        </pc:spChg>
        <pc:spChg chg="del">
          <ac:chgData name="Srivaths Swaminathan" userId="fab820a8-d04c-4fb7-bc62-495e227921e9" providerId="ADAL" clId="{7BA84AA0-DF91-44A9-A18C-3379702B0E32}" dt="2023-08-23T17:42:04.323" v="24556" actId="478"/>
          <ac:spMkLst>
            <pc:docMk/>
            <pc:sldMk cId="2652394226" sldId="2147479627"/>
            <ac:spMk id="8" creationId="{6412EBE6-B8E1-E426-8024-4B16322734CD}"/>
          </ac:spMkLst>
        </pc:spChg>
        <pc:spChg chg="add del mod">
          <ac:chgData name="Srivaths Swaminathan" userId="fab820a8-d04c-4fb7-bc62-495e227921e9" providerId="ADAL" clId="{7BA84AA0-DF91-44A9-A18C-3379702B0E32}" dt="2023-08-23T17:42:08.786" v="24566" actId="21"/>
          <ac:spMkLst>
            <pc:docMk/>
            <pc:sldMk cId="2652394226" sldId="2147479627"/>
            <ac:spMk id="9" creationId="{C10036C8-49AC-0149-2AC0-FFADB2EB8D8C}"/>
          </ac:spMkLst>
        </pc:spChg>
        <pc:spChg chg="add mod">
          <ac:chgData name="Srivaths Swaminathan" userId="fab820a8-d04c-4fb7-bc62-495e227921e9" providerId="ADAL" clId="{7BA84AA0-DF91-44A9-A18C-3379702B0E32}" dt="2023-08-25T08:56:36.610" v="26778" actId="14100"/>
          <ac:spMkLst>
            <pc:docMk/>
            <pc:sldMk cId="2652394226" sldId="2147479627"/>
            <ac:spMk id="10" creationId="{EE120B67-0C95-7B67-FE7A-A919F1D4CD05}"/>
          </ac:spMkLst>
        </pc:spChg>
        <pc:spChg chg="add 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11" creationId="{214EFF95-4EF4-4E06-2E0E-60B848D7C787}"/>
          </ac:spMkLst>
        </pc:spChg>
        <pc:spChg chg="add 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12" creationId="{8914B182-483C-5283-E746-90253FECF338}"/>
          </ac:spMkLst>
        </pc:spChg>
        <pc:spChg chg="add mod">
          <ac:chgData name="Srivaths Swaminathan" userId="fab820a8-d04c-4fb7-bc62-495e227921e9" providerId="ADAL" clId="{7BA84AA0-DF91-44A9-A18C-3379702B0E32}" dt="2023-08-23T18:18:28.165" v="25627" actId="552"/>
          <ac:spMkLst>
            <pc:docMk/>
            <pc:sldMk cId="2652394226" sldId="2147479627"/>
            <ac:spMk id="13" creationId="{5858533B-799E-08A7-20DF-7A84DCF8D47A}"/>
          </ac:spMkLst>
        </pc:spChg>
        <pc:spChg chg="add mod">
          <ac:chgData name="Srivaths Swaminathan" userId="fab820a8-d04c-4fb7-bc62-495e227921e9" providerId="ADAL" clId="{7BA84AA0-DF91-44A9-A18C-3379702B0E32}" dt="2023-08-25T08:56:36.610" v="26778" actId="14100"/>
          <ac:spMkLst>
            <pc:docMk/>
            <pc:sldMk cId="2652394226" sldId="2147479627"/>
            <ac:spMk id="14" creationId="{DB002797-0544-8CE4-9017-DC3BD7C1E0B2}"/>
          </ac:spMkLst>
        </pc:spChg>
        <pc:spChg chg="mod">
          <ac:chgData name="Srivaths Swaminathan" userId="fab820a8-d04c-4fb7-bc62-495e227921e9" providerId="ADAL" clId="{7BA84AA0-DF91-44A9-A18C-3379702B0E32}" dt="2023-08-25T08:56:36.610" v="26778" actId="14100"/>
          <ac:spMkLst>
            <pc:docMk/>
            <pc:sldMk cId="2652394226" sldId="2147479627"/>
            <ac:spMk id="15" creationId="{1B3B647A-55A4-F415-39AD-FF3A993370A0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16" creationId="{35E08D05-7AD8-F49F-BAC2-1310A91050AE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17" creationId="{7062E827-77F2-F22B-2B14-860AA6809B1E}"/>
          </ac:spMkLst>
        </pc:spChg>
        <pc:spChg chg="del">
          <ac:chgData name="Srivaths Swaminathan" userId="fab820a8-d04c-4fb7-bc62-495e227921e9" providerId="ADAL" clId="{7BA84AA0-DF91-44A9-A18C-3379702B0E32}" dt="2023-08-23T17:42:29.063" v="24573" actId="478"/>
          <ac:spMkLst>
            <pc:docMk/>
            <pc:sldMk cId="2652394226" sldId="2147479627"/>
            <ac:spMk id="22" creationId="{6B103AA0-AEC2-6421-4F2A-45341979275A}"/>
          </ac:spMkLst>
        </pc:spChg>
        <pc:spChg chg="del mod">
          <ac:chgData name="Srivaths Swaminathan" userId="fab820a8-d04c-4fb7-bc62-495e227921e9" providerId="ADAL" clId="{7BA84AA0-DF91-44A9-A18C-3379702B0E32}" dt="2023-08-23T17:58:41.954" v="24919" actId="478"/>
          <ac:spMkLst>
            <pc:docMk/>
            <pc:sldMk cId="2652394226" sldId="2147479627"/>
            <ac:spMk id="23" creationId="{5B9AC56B-9744-E608-A840-7437A9352C95}"/>
          </ac:spMkLst>
        </pc:spChg>
        <pc:spChg chg="del mod">
          <ac:chgData name="Srivaths Swaminathan" userId="fab820a8-d04c-4fb7-bc62-495e227921e9" providerId="ADAL" clId="{7BA84AA0-DF91-44A9-A18C-3379702B0E32}" dt="2023-08-23T17:58:41.954" v="24919" actId="478"/>
          <ac:spMkLst>
            <pc:docMk/>
            <pc:sldMk cId="2652394226" sldId="2147479627"/>
            <ac:spMk id="24" creationId="{D26FDA03-C165-AE13-328B-1E2C148FA5F1}"/>
          </ac:spMkLst>
        </pc:spChg>
        <pc:spChg chg="del">
          <ac:chgData name="Srivaths Swaminathan" userId="fab820a8-d04c-4fb7-bc62-495e227921e9" providerId="ADAL" clId="{7BA84AA0-DF91-44A9-A18C-3379702B0E32}" dt="2023-08-23T17:58:41.954" v="24919" actId="478"/>
          <ac:spMkLst>
            <pc:docMk/>
            <pc:sldMk cId="2652394226" sldId="2147479627"/>
            <ac:spMk id="25" creationId="{E643EA8A-E312-5430-4907-8F5417826CF0}"/>
          </ac:spMkLst>
        </pc:spChg>
        <pc:spChg chg="del">
          <ac:chgData name="Srivaths Swaminathan" userId="fab820a8-d04c-4fb7-bc62-495e227921e9" providerId="ADAL" clId="{7BA84AA0-DF91-44A9-A18C-3379702B0E32}" dt="2023-08-23T17:42:12.634" v="24570" actId="478"/>
          <ac:spMkLst>
            <pc:docMk/>
            <pc:sldMk cId="2652394226" sldId="2147479627"/>
            <ac:spMk id="30" creationId="{AF13E415-E5DD-55D0-7549-EFDA1DC5C989}"/>
          </ac:spMkLst>
        </pc:spChg>
        <pc:spChg chg="del">
          <ac:chgData name="Srivaths Swaminathan" userId="fab820a8-d04c-4fb7-bc62-495e227921e9" providerId="ADAL" clId="{7BA84AA0-DF91-44A9-A18C-3379702B0E32}" dt="2023-08-23T17:42:12.634" v="24570" actId="478"/>
          <ac:spMkLst>
            <pc:docMk/>
            <pc:sldMk cId="2652394226" sldId="2147479627"/>
            <ac:spMk id="31" creationId="{EC77D846-A4CD-FA54-68F1-DA4717816C5F}"/>
          </ac:spMkLst>
        </pc:spChg>
        <pc:spChg chg="del">
          <ac:chgData name="Srivaths Swaminathan" userId="fab820a8-d04c-4fb7-bc62-495e227921e9" providerId="ADAL" clId="{7BA84AA0-DF91-44A9-A18C-3379702B0E32}" dt="2023-08-23T17:42:12.634" v="24570" actId="478"/>
          <ac:spMkLst>
            <pc:docMk/>
            <pc:sldMk cId="2652394226" sldId="2147479627"/>
            <ac:spMk id="32" creationId="{9FF5CDFA-1489-0B41-139F-A4D645850C9A}"/>
          </ac:spMkLst>
        </pc:spChg>
        <pc:spChg chg="del mod">
          <ac:chgData name="Srivaths Swaminathan" userId="fab820a8-d04c-4fb7-bc62-495e227921e9" providerId="ADAL" clId="{7BA84AA0-DF91-44A9-A18C-3379702B0E32}" dt="2023-08-23T17:42:29.063" v="24573" actId="478"/>
          <ac:spMkLst>
            <pc:docMk/>
            <pc:sldMk cId="2652394226" sldId="2147479627"/>
            <ac:spMk id="33" creationId="{E658D722-ABEA-8D09-888F-D256ABB137C2}"/>
          </ac:spMkLst>
        </pc:spChg>
        <pc:spChg chg="mod">
          <ac:chgData name="Srivaths Swaminathan" userId="fab820a8-d04c-4fb7-bc62-495e227921e9" providerId="ADAL" clId="{7BA84AA0-DF91-44A9-A18C-3379702B0E32}" dt="2023-08-24T08:22:22.725" v="25827" actId="403"/>
          <ac:spMkLst>
            <pc:docMk/>
            <pc:sldMk cId="2652394226" sldId="2147479627"/>
            <ac:spMk id="34" creationId="{C44BA00D-08B2-5BCA-970F-DC875BF215D7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35" creationId="{1A425966-2479-DB50-9259-398C6C9514D0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36" creationId="{23E78714-5ED8-8D3C-8FD3-971C6DDEEF58}"/>
          </ac:spMkLst>
        </pc:spChg>
        <pc:spChg chg="del">
          <ac:chgData name="Srivaths Swaminathan" userId="fab820a8-d04c-4fb7-bc62-495e227921e9" providerId="ADAL" clId="{7BA84AA0-DF91-44A9-A18C-3379702B0E32}" dt="2023-08-23T17:42:29.063" v="24573" actId="478"/>
          <ac:spMkLst>
            <pc:docMk/>
            <pc:sldMk cId="2652394226" sldId="2147479627"/>
            <ac:spMk id="38" creationId="{16CF8192-B5CC-4760-C31C-78CEE6DAC50C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39" creationId="{BD000EAB-4B70-8E6B-6021-3063DB206089}"/>
          </ac:spMkLst>
        </pc:spChg>
        <pc:spChg chg="mod">
          <ac:chgData name="Srivaths Swaminathan" userId="fab820a8-d04c-4fb7-bc62-495e227921e9" providerId="ADAL" clId="{7BA84AA0-DF91-44A9-A18C-3379702B0E32}" dt="2023-08-24T08:22:08.581" v="25825" actId="20577"/>
          <ac:spMkLst>
            <pc:docMk/>
            <pc:sldMk cId="2652394226" sldId="2147479627"/>
            <ac:spMk id="40" creationId="{381BA8DC-9F5F-88B7-147C-E091F649CB55}"/>
          </ac:spMkLst>
        </pc:spChg>
        <pc:spChg chg="mod">
          <ac:chgData name="Srivaths Swaminathan" userId="fab820a8-d04c-4fb7-bc62-495e227921e9" providerId="ADAL" clId="{7BA84AA0-DF91-44A9-A18C-3379702B0E32}" dt="2023-08-24T08:21:45.384" v="25812" actId="403"/>
          <ac:spMkLst>
            <pc:docMk/>
            <pc:sldMk cId="2652394226" sldId="2147479627"/>
            <ac:spMk id="41" creationId="{9E4EFC0B-2651-52C2-3640-37107D97D928}"/>
          </ac:spMkLst>
        </pc:spChg>
        <pc:graphicFrameChg chg="mod">
          <ac:chgData name="Srivaths Swaminathan" userId="fab820a8-d04c-4fb7-bc62-495e227921e9" providerId="ADAL" clId="{7BA84AA0-DF91-44A9-A18C-3379702B0E32}" dt="2023-08-23T17:42:08.823" v="24569"/>
          <ac:graphicFrameMkLst>
            <pc:docMk/>
            <pc:sldMk cId="2652394226" sldId="2147479627"/>
            <ac:graphicFrameMk id="6" creationId="{EDFA9C19-2135-724C-1613-9349AE517837}"/>
          </ac:graphicFrameMkLst>
        </pc:graphicFrameChg>
        <pc:picChg chg="add mod">
          <ac:chgData name="Srivaths Swaminathan" userId="fab820a8-d04c-4fb7-bc62-495e227921e9" providerId="ADAL" clId="{7BA84AA0-DF91-44A9-A18C-3379702B0E32}" dt="2023-08-23T18:16:49.769" v="25584" actId="14100"/>
          <ac:picMkLst>
            <pc:docMk/>
            <pc:sldMk cId="2652394226" sldId="2147479627"/>
            <ac:picMk id="19" creationId="{87B26F64-86CD-5000-E5CF-474016BF78EA}"/>
          </ac:picMkLst>
        </pc:picChg>
        <pc:picChg chg="add mod">
          <ac:chgData name="Srivaths Swaminathan" userId="fab820a8-d04c-4fb7-bc62-495e227921e9" providerId="ADAL" clId="{7BA84AA0-DF91-44A9-A18C-3379702B0E32}" dt="2023-08-25T08:56:36.610" v="26778" actId="14100"/>
          <ac:picMkLst>
            <pc:docMk/>
            <pc:sldMk cId="2652394226" sldId="2147479627"/>
            <ac:picMk id="21" creationId="{E342686B-9AD6-1CD6-8EE6-344A925E563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rivaths Swaminathan" userId="fab820a8-d04c-4fb7-bc62-495e227921e9" providerId="ADAL" clId="{7BA84AA0-DF91-44A9-A18C-3379702B0E32}" dt="2023-08-23T18:23:12.016" v="25787"/>
              <pc2:cmMkLst xmlns:pc2="http://schemas.microsoft.com/office/powerpoint/2019/9/main/command">
                <pc:docMk/>
                <pc:sldMk cId="2652394226" sldId="2147479627"/>
                <pc2:cmMk id="{9011B82F-EF88-4258-9B53-44694D1AFA4A}"/>
              </pc2:cmMkLst>
            </pc226:cmChg>
            <pc226:cmChg xmlns:pc226="http://schemas.microsoft.com/office/powerpoint/2022/06/main/command" chg="add">
              <pc226:chgData name="Srivaths Swaminathan" userId="fab820a8-d04c-4fb7-bc62-495e227921e9" providerId="ADAL" clId="{7BA84AA0-DF91-44A9-A18C-3379702B0E32}" dt="2023-08-23T18:25:47.937" v="25791"/>
              <pc2:cmMkLst xmlns:pc2="http://schemas.microsoft.com/office/powerpoint/2019/9/main/command">
                <pc:docMk/>
                <pc:sldMk cId="2652394226" sldId="2147479627"/>
                <pc2:cmMk id="{A20EF895-B372-4F80-BE49-0790E1A201A0}"/>
              </pc2:cmMkLst>
            </pc226:cmChg>
          </p:ext>
        </pc:extLst>
      </pc:sldChg>
      <pc:sldChg chg="addSp delSp modSp new add del mod ord">
        <pc:chgData name="Srivaths Swaminathan" userId="fab820a8-d04c-4fb7-bc62-495e227921e9" providerId="ADAL" clId="{7BA84AA0-DF91-44A9-A18C-3379702B0E32}" dt="2023-08-25T16:26:24.922" v="28453" actId="47"/>
        <pc:sldMkLst>
          <pc:docMk/>
          <pc:sldMk cId="2954614479" sldId="2147479628"/>
        </pc:sldMkLst>
        <pc:spChg chg="mod">
          <ac:chgData name="Srivaths Swaminathan" userId="fab820a8-d04c-4fb7-bc62-495e227921e9" providerId="ADAL" clId="{7BA84AA0-DF91-44A9-A18C-3379702B0E32}" dt="2023-08-25T08:56:02.284" v="26736" actId="948"/>
          <ac:spMkLst>
            <pc:docMk/>
            <pc:sldMk cId="2954614479" sldId="2147479628"/>
            <ac:spMk id="2" creationId="{EC461AF8-26AE-018A-4F02-A1A003E621E1}"/>
          </ac:spMkLst>
        </pc:spChg>
        <pc:spChg chg="add mod">
          <ac:chgData name="Srivaths Swaminathan" userId="fab820a8-d04c-4fb7-bc62-495e227921e9" providerId="ADAL" clId="{7BA84AA0-DF91-44A9-A18C-3379702B0E32}" dt="2023-08-25T08:41:59.769" v="26490"/>
          <ac:spMkLst>
            <pc:docMk/>
            <pc:sldMk cId="2954614479" sldId="2147479628"/>
            <ac:spMk id="6" creationId="{8EB658D2-8DDE-B723-BBE9-F350000AE6E3}"/>
          </ac:spMkLst>
        </pc:spChg>
        <pc:spChg chg="add mod">
          <ac:chgData name="Srivaths Swaminathan" userId="fab820a8-d04c-4fb7-bc62-495e227921e9" providerId="ADAL" clId="{7BA84AA0-DF91-44A9-A18C-3379702B0E32}" dt="2023-08-25T08:41:59.769" v="26490"/>
          <ac:spMkLst>
            <pc:docMk/>
            <pc:sldMk cId="2954614479" sldId="2147479628"/>
            <ac:spMk id="7" creationId="{AB87D311-6C46-10FD-E648-407F2F56DFD5}"/>
          </ac:spMkLst>
        </pc:spChg>
        <pc:spChg chg="add mod">
          <ac:chgData name="Srivaths Swaminathan" userId="fab820a8-d04c-4fb7-bc62-495e227921e9" providerId="ADAL" clId="{7BA84AA0-DF91-44A9-A18C-3379702B0E32}" dt="2023-08-25T08:52:47.799" v="26723"/>
          <ac:spMkLst>
            <pc:docMk/>
            <pc:sldMk cId="2954614479" sldId="2147479628"/>
            <ac:spMk id="9" creationId="{50BC9856-4815-892A-8826-70C85387E12D}"/>
          </ac:spMkLst>
        </pc:spChg>
        <pc:spChg chg="add mod">
          <ac:chgData name="Srivaths Swaminathan" userId="fab820a8-d04c-4fb7-bc62-495e227921e9" providerId="ADAL" clId="{7BA84AA0-DF91-44A9-A18C-3379702B0E32}" dt="2023-08-25T08:52:47.799" v="26723"/>
          <ac:spMkLst>
            <pc:docMk/>
            <pc:sldMk cId="2954614479" sldId="2147479628"/>
            <ac:spMk id="10" creationId="{B55AC7A7-20B2-3211-58DE-902BE85D9CA6}"/>
          </ac:spMkLst>
        </pc:spChg>
        <pc:spChg chg="add mod">
          <ac:chgData name="Srivaths Swaminathan" userId="fab820a8-d04c-4fb7-bc62-495e227921e9" providerId="ADAL" clId="{7BA84AA0-DF91-44A9-A18C-3379702B0E32}" dt="2023-08-25T08:52:55.710" v="26725"/>
          <ac:spMkLst>
            <pc:docMk/>
            <pc:sldMk cId="2954614479" sldId="2147479628"/>
            <ac:spMk id="12" creationId="{319F29DB-5301-5EC1-C5E3-C0CD29A3B2F6}"/>
          </ac:spMkLst>
        </pc:spChg>
        <pc:spChg chg="add mod">
          <ac:chgData name="Srivaths Swaminathan" userId="fab820a8-d04c-4fb7-bc62-495e227921e9" providerId="ADAL" clId="{7BA84AA0-DF91-44A9-A18C-3379702B0E32}" dt="2023-08-25T08:52:55.710" v="26725"/>
          <ac:spMkLst>
            <pc:docMk/>
            <pc:sldMk cId="2954614479" sldId="2147479628"/>
            <ac:spMk id="13" creationId="{6C79C592-75F2-CB0E-EEC0-CA9E07804F5F}"/>
          </ac:spMkLst>
        </pc:spChg>
        <pc:spChg chg="add mod">
          <ac:chgData name="Srivaths Swaminathan" userId="fab820a8-d04c-4fb7-bc62-495e227921e9" providerId="ADAL" clId="{7BA84AA0-DF91-44A9-A18C-3379702B0E32}" dt="2023-08-25T08:53:02.891" v="26727"/>
          <ac:spMkLst>
            <pc:docMk/>
            <pc:sldMk cId="2954614479" sldId="2147479628"/>
            <ac:spMk id="15" creationId="{C0B8E71D-DA81-5043-4CD4-C4A6330FC05D}"/>
          </ac:spMkLst>
        </pc:spChg>
        <pc:spChg chg="add mod">
          <ac:chgData name="Srivaths Swaminathan" userId="fab820a8-d04c-4fb7-bc62-495e227921e9" providerId="ADAL" clId="{7BA84AA0-DF91-44A9-A18C-3379702B0E32}" dt="2023-08-25T08:53:02.891" v="26727"/>
          <ac:spMkLst>
            <pc:docMk/>
            <pc:sldMk cId="2954614479" sldId="2147479628"/>
            <ac:spMk id="16" creationId="{5B84BF9B-BEDA-1136-892B-78926204A4C3}"/>
          </ac:spMkLst>
        </pc:spChg>
        <pc:spChg chg="add mod">
          <ac:chgData name="Srivaths Swaminathan" userId="fab820a8-d04c-4fb7-bc62-495e227921e9" providerId="ADAL" clId="{7BA84AA0-DF91-44A9-A18C-3379702B0E32}" dt="2023-08-25T08:53:41.896" v="26730"/>
          <ac:spMkLst>
            <pc:docMk/>
            <pc:sldMk cId="2954614479" sldId="2147479628"/>
            <ac:spMk id="18" creationId="{FA612105-24C0-05CB-0E88-9E5FFCB8431A}"/>
          </ac:spMkLst>
        </pc:spChg>
        <pc:spChg chg="add mod">
          <ac:chgData name="Srivaths Swaminathan" userId="fab820a8-d04c-4fb7-bc62-495e227921e9" providerId="ADAL" clId="{7BA84AA0-DF91-44A9-A18C-3379702B0E32}" dt="2023-08-25T08:53:41.896" v="26730"/>
          <ac:spMkLst>
            <pc:docMk/>
            <pc:sldMk cId="2954614479" sldId="2147479628"/>
            <ac:spMk id="19" creationId="{AEA3A59C-53DA-48DF-EE25-707CFAF38FAB}"/>
          </ac:spMkLst>
        </pc:spChg>
        <pc:spChg chg="add del mod modVis">
          <ac:chgData name="Srivaths Swaminathan" userId="fab820a8-d04c-4fb7-bc62-495e227921e9" providerId="ADAL" clId="{7BA84AA0-DF91-44A9-A18C-3379702B0E32}" dt="2023-08-25T08:56:02.326" v="26760"/>
          <ac:spMkLst>
            <pc:docMk/>
            <pc:sldMk cId="2954614479" sldId="2147479628"/>
            <ac:spMk id="20" creationId="{1AACE9E3-54A4-4DE0-DA9A-C456E1178296}"/>
          </ac:spMkLst>
        </pc:spChg>
        <pc:grpChg chg="add mod">
          <ac:chgData name="Srivaths Swaminathan" userId="fab820a8-d04c-4fb7-bc62-495e227921e9" providerId="ADAL" clId="{7BA84AA0-DF91-44A9-A18C-3379702B0E32}" dt="2023-08-25T08:41:59.769" v="26490"/>
          <ac:grpSpMkLst>
            <pc:docMk/>
            <pc:sldMk cId="2954614479" sldId="2147479628"/>
            <ac:grpSpMk id="5" creationId="{FBA569F0-7BF6-B2E3-CE8F-CFED1F60FE13}"/>
          </ac:grpSpMkLst>
        </pc:grpChg>
        <pc:grpChg chg="add mod">
          <ac:chgData name="Srivaths Swaminathan" userId="fab820a8-d04c-4fb7-bc62-495e227921e9" providerId="ADAL" clId="{7BA84AA0-DF91-44A9-A18C-3379702B0E32}" dt="2023-08-25T08:52:47.799" v="26723"/>
          <ac:grpSpMkLst>
            <pc:docMk/>
            <pc:sldMk cId="2954614479" sldId="2147479628"/>
            <ac:grpSpMk id="8" creationId="{C0FCDBE0-7948-7576-879D-0D14EC19B268}"/>
          </ac:grpSpMkLst>
        </pc:grpChg>
        <pc:grpChg chg="add mod">
          <ac:chgData name="Srivaths Swaminathan" userId="fab820a8-d04c-4fb7-bc62-495e227921e9" providerId="ADAL" clId="{7BA84AA0-DF91-44A9-A18C-3379702B0E32}" dt="2023-08-25T08:52:55.710" v="26725"/>
          <ac:grpSpMkLst>
            <pc:docMk/>
            <pc:sldMk cId="2954614479" sldId="2147479628"/>
            <ac:grpSpMk id="11" creationId="{692F6C92-D73F-13F0-A399-A3A7089E3265}"/>
          </ac:grpSpMkLst>
        </pc:grpChg>
        <pc:grpChg chg="add mod">
          <ac:chgData name="Srivaths Swaminathan" userId="fab820a8-d04c-4fb7-bc62-495e227921e9" providerId="ADAL" clId="{7BA84AA0-DF91-44A9-A18C-3379702B0E32}" dt="2023-08-25T08:53:02.891" v="26727"/>
          <ac:grpSpMkLst>
            <pc:docMk/>
            <pc:sldMk cId="2954614479" sldId="2147479628"/>
            <ac:grpSpMk id="14" creationId="{EE8FB07B-779B-47E3-5F3E-9A3661A426E6}"/>
          </ac:grpSpMkLst>
        </pc:grpChg>
        <pc:grpChg chg="add del mod">
          <ac:chgData name="Srivaths Swaminathan" userId="fab820a8-d04c-4fb7-bc62-495e227921e9" providerId="ADAL" clId="{7BA84AA0-DF91-44A9-A18C-3379702B0E32}" dt="2023-08-25T08:53:43.892" v="26731" actId="478"/>
          <ac:grpSpMkLst>
            <pc:docMk/>
            <pc:sldMk cId="2954614479" sldId="2147479628"/>
            <ac:grpSpMk id="17" creationId="{E763F666-7C62-4E06-2074-1E60988F63F4}"/>
          </ac:grpSpMkLst>
        </pc:grpChg>
        <pc:graphicFrameChg chg="add mod ord modVis replST">
          <ac:chgData name="Srivaths Swaminathan" userId="fab820a8-d04c-4fb7-bc62-495e227921e9" providerId="ADAL" clId="{7BA84AA0-DF91-44A9-A18C-3379702B0E32}" dt="2023-08-25T08:56:02.380" v="26775"/>
          <ac:graphicFrameMkLst>
            <pc:docMk/>
            <pc:sldMk cId="2954614479" sldId="2147479628"/>
            <ac:graphicFrameMk id="21" creationId="{EEAE0D59-859F-3161-F8B9-F9CAE61F84B8}"/>
          </ac:graphicFrameMkLst>
        </pc:graphicFrameChg>
      </pc:sldChg>
      <pc:sldChg chg="addSp delSp modSp add del mod ord">
        <pc:chgData name="Srivaths Swaminathan" userId="fab820a8-d04c-4fb7-bc62-495e227921e9" providerId="ADAL" clId="{7BA84AA0-DF91-44A9-A18C-3379702B0E32}" dt="2023-09-06T17:04:11.410" v="36924" actId="47"/>
        <pc:sldMkLst>
          <pc:docMk/>
          <pc:sldMk cId="4291301674" sldId="2147479629"/>
        </pc:sldMkLst>
        <pc:spChg chg="mod">
          <ac:chgData name="Srivaths Swaminathan" userId="fab820a8-d04c-4fb7-bc62-495e227921e9" providerId="ADAL" clId="{7BA84AA0-DF91-44A9-A18C-3379702B0E32}" dt="2023-08-30T17:12:15.898" v="28864" actId="948"/>
          <ac:spMkLst>
            <pc:docMk/>
            <pc:sldMk cId="4291301674" sldId="2147479629"/>
            <ac:spMk id="2" creationId="{481CB157-3BB7-FF88-2269-A356B94101D1}"/>
          </ac:spMkLst>
        </pc:spChg>
        <pc:spChg chg="mod">
          <ac:chgData name="Srivaths Swaminathan" userId="fab820a8-d04c-4fb7-bc62-495e227921e9" providerId="ADAL" clId="{7BA84AA0-DF91-44A9-A18C-3379702B0E32}" dt="2023-08-30T17:11:31.556" v="28722" actId="113"/>
          <ac:spMkLst>
            <pc:docMk/>
            <pc:sldMk cId="4291301674" sldId="2147479629"/>
            <ac:spMk id="4" creationId="{20438F63-4B25-4853-87F3-3ACB326C4301}"/>
          </ac:spMkLst>
        </pc:spChg>
        <pc:spChg chg="add del mod modVis">
          <ac:chgData name="Srivaths Swaminathan" userId="fab820a8-d04c-4fb7-bc62-495e227921e9" providerId="ADAL" clId="{7BA84AA0-DF91-44A9-A18C-3379702B0E32}" dt="2023-08-30T17:11:52.841" v="28748"/>
          <ac:spMkLst>
            <pc:docMk/>
            <pc:sldMk cId="4291301674" sldId="2147479629"/>
            <ac:spMk id="5" creationId="{E6E1033C-9B46-A322-0388-4C54DAB98807}"/>
          </ac:spMkLst>
        </pc:spChg>
        <pc:spChg chg="mod">
          <ac:chgData name="Srivaths Swaminathan" userId="fab820a8-d04c-4fb7-bc62-495e227921e9" providerId="ADAL" clId="{7BA84AA0-DF91-44A9-A18C-3379702B0E32}" dt="2023-08-25T16:27:45.868" v="28454" actId="552"/>
          <ac:spMkLst>
            <pc:docMk/>
            <pc:sldMk cId="4291301674" sldId="2147479629"/>
            <ac:spMk id="7" creationId="{CEB84A1F-3DAF-C188-4EB7-EDDDAF39D6AC}"/>
          </ac:spMkLst>
        </pc:spChg>
        <pc:spChg chg="mod">
          <ac:chgData name="Srivaths Swaminathan" userId="fab820a8-d04c-4fb7-bc62-495e227921e9" providerId="ADAL" clId="{7BA84AA0-DF91-44A9-A18C-3379702B0E32}" dt="2023-08-25T16:27:45.868" v="28454" actId="552"/>
          <ac:spMkLst>
            <pc:docMk/>
            <pc:sldMk cId="4291301674" sldId="2147479629"/>
            <ac:spMk id="8" creationId="{31E3F73F-8813-E8B8-A8A4-2FCD7413F2A4}"/>
          </ac:spMkLst>
        </pc:spChg>
        <pc:spChg chg="mod">
          <ac:chgData name="Srivaths Swaminathan" userId="fab820a8-d04c-4fb7-bc62-495e227921e9" providerId="ADAL" clId="{7BA84AA0-DF91-44A9-A18C-3379702B0E32}" dt="2023-08-25T16:24:06.077" v="28319" actId="1037"/>
          <ac:spMkLst>
            <pc:docMk/>
            <pc:sldMk cId="4291301674" sldId="2147479629"/>
            <ac:spMk id="9" creationId="{4AD5DA65-63FE-F043-6217-B0D22005D01E}"/>
          </ac:spMkLst>
        </pc:spChg>
        <pc:spChg chg="add del mod modVis">
          <ac:chgData name="Srivaths Swaminathan" userId="fab820a8-d04c-4fb7-bc62-495e227921e9" providerId="ADAL" clId="{7BA84AA0-DF91-44A9-A18C-3379702B0E32}" dt="2023-08-30T17:12:09.954" v="28832"/>
          <ac:spMkLst>
            <pc:docMk/>
            <pc:sldMk cId="4291301674" sldId="2147479629"/>
            <ac:spMk id="10" creationId="{AA56BB5E-9B18-B911-CC79-934B01F0A9E5}"/>
          </ac:spMkLst>
        </pc:spChg>
        <pc:spChg chg="mod">
          <ac:chgData name="Srivaths Swaminathan" userId="fab820a8-d04c-4fb7-bc62-495e227921e9" providerId="ADAL" clId="{7BA84AA0-DF91-44A9-A18C-3379702B0E32}" dt="2023-08-25T16:21:05.326" v="28120" actId="113"/>
          <ac:spMkLst>
            <pc:docMk/>
            <pc:sldMk cId="4291301674" sldId="2147479629"/>
            <ac:spMk id="12" creationId="{E0566CD2-C040-1887-FC0A-4256C6850BCA}"/>
          </ac:spMkLst>
        </pc:spChg>
        <pc:spChg chg="mod">
          <ac:chgData name="Srivaths Swaminathan" userId="fab820a8-d04c-4fb7-bc62-495e227921e9" providerId="ADAL" clId="{7BA84AA0-DF91-44A9-A18C-3379702B0E32}" dt="2023-08-25T16:22:08.223" v="28231" actId="20577"/>
          <ac:spMkLst>
            <pc:docMk/>
            <pc:sldMk cId="4291301674" sldId="2147479629"/>
            <ac:spMk id="14" creationId="{7D3A9463-1091-D2C4-E0E5-9927B3B2973D}"/>
          </ac:spMkLst>
        </pc:spChg>
        <pc:spChg chg="add del mod modVis">
          <ac:chgData name="Srivaths Swaminathan" userId="fab820a8-d04c-4fb7-bc62-495e227921e9" providerId="ADAL" clId="{7BA84AA0-DF91-44A9-A18C-3379702B0E32}" dt="2023-08-30T17:12:10.709" v="28860"/>
          <ac:spMkLst>
            <pc:docMk/>
            <pc:sldMk cId="4291301674" sldId="2147479629"/>
            <ac:spMk id="16" creationId="{E62F3C7E-D3DF-417B-8391-965170600813}"/>
          </ac:spMkLst>
        </pc:spChg>
        <pc:spChg chg="add del mod modVis">
          <ac:chgData name="Srivaths Swaminathan" userId="fab820a8-d04c-4fb7-bc62-495e227921e9" providerId="ADAL" clId="{7BA84AA0-DF91-44A9-A18C-3379702B0E32}" dt="2023-08-30T17:12:15.939" v="28888"/>
          <ac:spMkLst>
            <pc:docMk/>
            <pc:sldMk cId="4291301674" sldId="2147479629"/>
            <ac:spMk id="17" creationId="{23243CF3-97E9-27F7-4E78-EBBBADBCE803}"/>
          </ac:spMkLst>
        </pc:spChg>
        <pc:graphicFrameChg chg="mod">
          <ac:chgData name="Srivaths Swaminathan" userId="fab820a8-d04c-4fb7-bc62-495e227921e9" providerId="ADAL" clId="{7BA84AA0-DF91-44A9-A18C-3379702B0E32}" dt="2023-09-06T17:03:45.558" v="36919"/>
          <ac:graphicFrameMkLst>
            <pc:docMk/>
            <pc:sldMk cId="4291301674" sldId="2147479629"/>
            <ac:graphicFrameMk id="6" creationId="{BEA99182-135A-73D7-4F38-EBDD62D3EE83}"/>
          </ac:graphicFrameMkLst>
        </pc:graphicFrameChg>
        <pc:picChg chg="add mod">
          <ac:chgData name="Srivaths Swaminathan" userId="fab820a8-d04c-4fb7-bc62-495e227921e9" providerId="ADAL" clId="{7BA84AA0-DF91-44A9-A18C-3379702B0E32}" dt="2023-08-25T16:24:06.077" v="28319" actId="1037"/>
          <ac:picMkLst>
            <pc:docMk/>
            <pc:sldMk cId="4291301674" sldId="2147479629"/>
            <ac:picMk id="3" creationId="{E1458B4B-99B8-E181-72AB-CB84D91B0FC0}"/>
          </ac:picMkLst>
        </pc:picChg>
        <pc:picChg chg="del">
          <ac:chgData name="Srivaths Swaminathan" userId="fab820a8-d04c-4fb7-bc62-495e227921e9" providerId="ADAL" clId="{7BA84AA0-DF91-44A9-A18C-3379702B0E32}" dt="2023-08-25T16:23:50.276" v="28308" actId="478"/>
          <ac:picMkLst>
            <pc:docMk/>
            <pc:sldMk cId="4291301674" sldId="2147479629"/>
            <ac:picMk id="10" creationId="{B88A3911-1776-036F-1613-FEB329CD1F9D}"/>
          </ac:picMkLst>
        </pc:picChg>
      </pc:sldChg>
      <pc:sldChg chg="addSp delSp modSp add del mod">
        <pc:chgData name="Srivaths Swaminathan" userId="fab820a8-d04c-4fb7-bc62-495e227921e9" providerId="ADAL" clId="{7BA84AA0-DF91-44A9-A18C-3379702B0E32}" dt="2023-09-07T08:24:18.320" v="36977" actId="1037"/>
        <pc:sldMkLst>
          <pc:docMk/>
          <pc:sldMk cId="476862691" sldId="2147479630"/>
        </pc:sldMkLst>
        <pc:spChg chg="mod">
          <ac:chgData name="Srivaths Swaminathan" userId="fab820a8-d04c-4fb7-bc62-495e227921e9" providerId="ADAL" clId="{7BA84AA0-DF91-44A9-A18C-3379702B0E32}" dt="2023-09-06T13:46:17.102" v="34421" actId="948"/>
          <ac:spMkLst>
            <pc:docMk/>
            <pc:sldMk cId="476862691" sldId="2147479630"/>
            <ac:spMk id="2" creationId="{A0A539C7-696A-7DF3-6837-C3696F000047}"/>
          </ac:spMkLst>
        </pc:spChg>
        <pc:spChg chg="mod">
          <ac:chgData name="Srivaths Swaminathan" userId="fab820a8-d04c-4fb7-bc62-495e227921e9" providerId="ADAL" clId="{7BA84AA0-DF91-44A9-A18C-3379702B0E32}" dt="2023-09-06T14:31:09.006" v="35642" actId="14100"/>
          <ac:spMkLst>
            <pc:docMk/>
            <pc:sldMk cId="476862691" sldId="2147479630"/>
            <ac:spMk id="3" creationId="{5ED6C8A5-FD0C-E265-84A2-47E65A1B8275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4" creationId="{88200F8F-B90B-3AEF-EC9E-717DBEFBACD6}"/>
          </ac:spMkLst>
        </pc:spChg>
        <pc:spChg chg="add del mod modVis">
          <ac:chgData name="Srivaths Swaminathan" userId="fab820a8-d04c-4fb7-bc62-495e227921e9" providerId="ADAL" clId="{7BA84AA0-DF91-44A9-A18C-3379702B0E32}" dt="2023-09-06T11:51:30.508" v="31991"/>
          <ac:spMkLst>
            <pc:docMk/>
            <pc:sldMk cId="476862691" sldId="2147479630"/>
            <ac:spMk id="5" creationId="{AE4B0532-8C14-4A82-0DEF-EB2BEDC8AB3F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7" creationId="{485FD7B2-FB92-815C-45F0-FCCA05431D19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8" creationId="{6412EBE6-B8E1-E426-8024-4B16322734CD}"/>
          </ac:spMkLst>
        </pc:spChg>
        <pc:spChg chg="add del mod modVis">
          <ac:chgData name="Srivaths Swaminathan" userId="fab820a8-d04c-4fb7-bc62-495e227921e9" providerId="ADAL" clId="{7BA84AA0-DF91-44A9-A18C-3379702B0E32}" dt="2023-09-06T11:51:31.960" v="32025"/>
          <ac:spMkLst>
            <pc:docMk/>
            <pc:sldMk cId="476862691" sldId="2147479630"/>
            <ac:spMk id="9" creationId="{B8B3C7C3-5D15-D7B3-C4DA-92B37F6D1796}"/>
          </ac:spMkLst>
        </pc:spChg>
        <pc:spChg chg="add del mod modVis">
          <ac:chgData name="Srivaths Swaminathan" userId="fab820a8-d04c-4fb7-bc62-495e227921e9" providerId="ADAL" clId="{7BA84AA0-DF91-44A9-A18C-3379702B0E32}" dt="2023-09-06T11:51:32.217" v="32053"/>
          <ac:spMkLst>
            <pc:docMk/>
            <pc:sldMk cId="476862691" sldId="2147479630"/>
            <ac:spMk id="10" creationId="{106D36BC-C924-D1C5-C0DB-8168D8550969}"/>
          </ac:spMkLst>
        </pc:spChg>
        <pc:spChg chg="add del mod modVis">
          <ac:chgData name="Srivaths Swaminathan" userId="fab820a8-d04c-4fb7-bc62-495e227921e9" providerId="ADAL" clId="{7BA84AA0-DF91-44A9-A18C-3379702B0E32}" dt="2023-09-06T11:51:33.347" v="32086"/>
          <ac:spMkLst>
            <pc:docMk/>
            <pc:sldMk cId="476862691" sldId="2147479630"/>
            <ac:spMk id="11" creationId="{E82E20E8-FE78-C0AA-906F-6A2EEA151664}"/>
          </ac:spMkLst>
        </pc:spChg>
        <pc:spChg chg="add mod">
          <ac:chgData name="Srivaths Swaminathan" userId="fab820a8-d04c-4fb7-bc62-495e227921e9" providerId="ADAL" clId="{7BA84AA0-DF91-44A9-A18C-3379702B0E32}" dt="2023-09-06T12:22:32.948" v="32380"/>
          <ac:spMkLst>
            <pc:docMk/>
            <pc:sldMk cId="476862691" sldId="2147479630"/>
            <ac:spMk id="12" creationId="{EBFB438E-534E-7AAA-9923-C169C0260FD4}"/>
          </ac:spMkLst>
        </pc:spChg>
        <pc:spChg chg="add mod">
          <ac:chgData name="Srivaths Swaminathan" userId="fab820a8-d04c-4fb7-bc62-495e227921e9" providerId="ADAL" clId="{7BA84AA0-DF91-44A9-A18C-3379702B0E32}" dt="2023-09-06T12:22:32.948" v="32380"/>
          <ac:spMkLst>
            <pc:docMk/>
            <pc:sldMk cId="476862691" sldId="2147479630"/>
            <ac:spMk id="13" creationId="{8B29BDF7-5F05-8667-08CF-A8FA8C90FB1C}"/>
          </ac:spMkLst>
        </pc:spChg>
        <pc:spChg chg="add mod">
          <ac:chgData name="Srivaths Swaminathan" userId="fab820a8-d04c-4fb7-bc62-495e227921e9" providerId="ADAL" clId="{7BA84AA0-DF91-44A9-A18C-3379702B0E32}" dt="2023-09-06T12:22:32.948" v="32380"/>
          <ac:spMkLst>
            <pc:docMk/>
            <pc:sldMk cId="476862691" sldId="2147479630"/>
            <ac:spMk id="14" creationId="{B16ECC38-4D0A-5151-30A0-207F501EA197}"/>
          </ac:spMkLst>
        </pc:spChg>
        <pc:spChg chg="mod">
          <ac:chgData name="Srivaths Swaminathan" userId="fab820a8-d04c-4fb7-bc62-495e227921e9" providerId="ADAL" clId="{7BA84AA0-DF91-44A9-A18C-3379702B0E32}" dt="2023-09-06T14:37:37.542" v="35690" actId="20577"/>
          <ac:spMkLst>
            <pc:docMk/>
            <pc:sldMk cId="476862691" sldId="2147479630"/>
            <ac:spMk id="15" creationId="{1B3B647A-55A4-F415-39AD-FF3A993370A0}"/>
          </ac:spMkLst>
        </pc:spChg>
        <pc:spChg chg="mod">
          <ac:chgData name="Srivaths Swaminathan" userId="fab820a8-d04c-4fb7-bc62-495e227921e9" providerId="ADAL" clId="{7BA84AA0-DF91-44A9-A18C-3379702B0E32}" dt="2023-09-06T14:27:42.364" v="35302" actId="113"/>
          <ac:spMkLst>
            <pc:docMk/>
            <pc:sldMk cId="476862691" sldId="2147479630"/>
            <ac:spMk id="16" creationId="{35E08D05-7AD8-F49F-BAC2-1310A91050AE}"/>
          </ac:spMkLst>
        </pc:spChg>
        <pc:spChg chg="mod">
          <ac:chgData name="Srivaths Swaminathan" userId="fab820a8-d04c-4fb7-bc62-495e227921e9" providerId="ADAL" clId="{7BA84AA0-DF91-44A9-A18C-3379702B0E32}" dt="2023-09-06T14:27:30.592" v="35300" actId="14100"/>
          <ac:spMkLst>
            <pc:docMk/>
            <pc:sldMk cId="476862691" sldId="2147479630"/>
            <ac:spMk id="17" creationId="{7062E827-77F2-F22B-2B14-860AA6809B1E}"/>
          </ac:spMkLst>
        </pc:spChg>
        <pc:spChg chg="add mod">
          <ac:chgData name="Srivaths Swaminathan" userId="fab820a8-d04c-4fb7-bc62-495e227921e9" providerId="ADAL" clId="{7BA84AA0-DF91-44A9-A18C-3379702B0E32}" dt="2023-09-07T08:24:14.442" v="36975" actId="1037"/>
          <ac:spMkLst>
            <pc:docMk/>
            <pc:sldMk cId="476862691" sldId="2147479630"/>
            <ac:spMk id="18" creationId="{1D5D8F0E-BC87-A01E-9093-79EDEEDF51F1}"/>
          </ac:spMkLst>
        </pc:spChg>
        <pc:spChg chg="add mod">
          <ac:chgData name="Srivaths Swaminathan" userId="fab820a8-d04c-4fb7-bc62-495e227921e9" providerId="ADAL" clId="{7BA84AA0-DF91-44A9-A18C-3379702B0E32}" dt="2023-09-07T08:24:18.320" v="36977" actId="1037"/>
          <ac:spMkLst>
            <pc:docMk/>
            <pc:sldMk cId="476862691" sldId="2147479630"/>
            <ac:spMk id="19" creationId="{B5C5806A-88A1-7993-7B78-50BCB9F5612B}"/>
          </ac:spMkLst>
        </pc:spChg>
        <pc:spChg chg="add mod">
          <ac:chgData name="Srivaths Swaminathan" userId="fab820a8-d04c-4fb7-bc62-495e227921e9" providerId="ADAL" clId="{7BA84AA0-DF91-44A9-A18C-3379702B0E32}" dt="2023-09-06T12:22:32.948" v="32380"/>
          <ac:spMkLst>
            <pc:docMk/>
            <pc:sldMk cId="476862691" sldId="2147479630"/>
            <ac:spMk id="20" creationId="{ED7F6A4F-7D41-7A2E-C02E-1C84BD9AC5AA}"/>
          </ac:spMkLst>
        </pc:spChg>
        <pc:spChg chg="add mod">
          <ac:chgData name="Srivaths Swaminathan" userId="fab820a8-d04c-4fb7-bc62-495e227921e9" providerId="ADAL" clId="{7BA84AA0-DF91-44A9-A18C-3379702B0E32}" dt="2023-09-06T15:11:37.722" v="36232" actId="207"/>
          <ac:spMkLst>
            <pc:docMk/>
            <pc:sldMk cId="476862691" sldId="2147479630"/>
            <ac:spMk id="21" creationId="{71067793-1B39-E35A-B71C-C92D9C47908F}"/>
          </ac:spMkLst>
        </pc:spChg>
        <pc:spChg chg="del">
          <ac:chgData name="Srivaths Swaminathan" userId="fab820a8-d04c-4fb7-bc62-495e227921e9" providerId="ADAL" clId="{7BA84AA0-DF91-44A9-A18C-3379702B0E32}" dt="2023-09-06T12:38:44.784" v="33414" actId="478"/>
          <ac:spMkLst>
            <pc:docMk/>
            <pc:sldMk cId="476862691" sldId="2147479630"/>
            <ac:spMk id="22" creationId="{6B103AA0-AEC2-6421-4F2A-45341979275A}"/>
          </ac:spMkLst>
        </pc:spChg>
        <pc:spChg chg="del">
          <ac:chgData name="Srivaths Swaminathan" userId="fab820a8-d04c-4fb7-bc62-495e227921e9" providerId="ADAL" clId="{7BA84AA0-DF91-44A9-A18C-3379702B0E32}" dt="2023-09-06T12:38:44.784" v="33414" actId="478"/>
          <ac:spMkLst>
            <pc:docMk/>
            <pc:sldMk cId="476862691" sldId="2147479630"/>
            <ac:spMk id="23" creationId="{5B9AC56B-9744-E608-A840-7437A9352C95}"/>
          </ac:spMkLst>
        </pc:spChg>
        <pc:spChg chg="mod">
          <ac:chgData name="Srivaths Swaminathan" userId="fab820a8-d04c-4fb7-bc62-495e227921e9" providerId="ADAL" clId="{7BA84AA0-DF91-44A9-A18C-3379702B0E32}" dt="2023-09-06T15:12:10.241" v="36238" actId="207"/>
          <ac:spMkLst>
            <pc:docMk/>
            <pc:sldMk cId="476862691" sldId="2147479630"/>
            <ac:spMk id="24" creationId="{D26FDA03-C165-AE13-328B-1E2C148FA5F1}"/>
          </ac:spMkLst>
        </pc:spChg>
        <pc:spChg chg="mod">
          <ac:chgData name="Srivaths Swaminathan" userId="fab820a8-d04c-4fb7-bc62-495e227921e9" providerId="ADAL" clId="{7BA84AA0-DF91-44A9-A18C-3379702B0E32}" dt="2023-09-06T14:01:22.555" v="35261" actId="1035"/>
          <ac:spMkLst>
            <pc:docMk/>
            <pc:sldMk cId="476862691" sldId="2147479630"/>
            <ac:spMk id="25" creationId="{E643EA8A-E312-5430-4907-8F5417826CF0}"/>
          </ac:spMkLst>
        </pc:spChg>
        <pc:spChg chg="add mod">
          <ac:chgData name="Srivaths Swaminathan" userId="fab820a8-d04c-4fb7-bc62-495e227921e9" providerId="ADAL" clId="{7BA84AA0-DF91-44A9-A18C-3379702B0E32}" dt="2023-09-06T14:38:40.530" v="35718" actId="1036"/>
          <ac:spMkLst>
            <pc:docMk/>
            <pc:sldMk cId="476862691" sldId="2147479630"/>
            <ac:spMk id="26" creationId="{61546BD2-236C-FF5B-FE1E-1F3C1B6967A9}"/>
          </ac:spMkLst>
        </pc:spChg>
        <pc:spChg chg="add mod">
          <ac:chgData name="Srivaths Swaminathan" userId="fab820a8-d04c-4fb7-bc62-495e227921e9" providerId="ADAL" clId="{7BA84AA0-DF91-44A9-A18C-3379702B0E32}" dt="2023-09-06T15:23:29.442" v="36313" actId="20577"/>
          <ac:spMkLst>
            <pc:docMk/>
            <pc:sldMk cId="476862691" sldId="2147479630"/>
            <ac:spMk id="27" creationId="{50902D8E-0998-9A2A-F12E-E4D00B8D9407}"/>
          </ac:spMkLst>
        </pc:spChg>
        <pc:spChg chg="add mod">
          <ac:chgData name="Srivaths Swaminathan" userId="fab820a8-d04c-4fb7-bc62-495e227921e9" providerId="ADAL" clId="{7BA84AA0-DF91-44A9-A18C-3379702B0E32}" dt="2023-09-06T15:29:47.152" v="36608" actId="20577"/>
          <ac:spMkLst>
            <pc:docMk/>
            <pc:sldMk cId="476862691" sldId="2147479630"/>
            <ac:spMk id="28" creationId="{0E5E8016-B68E-32AA-7BE9-6D3820863024}"/>
          </ac:spMkLst>
        </pc:spChg>
        <pc:spChg chg="add mod">
          <ac:chgData name="Srivaths Swaminathan" userId="fab820a8-d04c-4fb7-bc62-495e227921e9" providerId="ADAL" clId="{7BA84AA0-DF91-44A9-A18C-3379702B0E32}" dt="2023-09-06T15:12:22.458" v="36239" actId="207"/>
          <ac:spMkLst>
            <pc:docMk/>
            <pc:sldMk cId="476862691" sldId="2147479630"/>
            <ac:spMk id="29" creationId="{95E55D92-50F5-C41F-256F-CA73DA29BE9C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30" creationId="{AF13E415-E5DD-55D0-7549-EFDA1DC5C989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31" creationId="{EC77D846-A4CD-FA54-68F1-DA4717816C5F}"/>
          </ac:spMkLst>
        </pc:spChg>
        <pc:spChg chg="del">
          <ac:chgData name="Srivaths Swaminathan" userId="fab820a8-d04c-4fb7-bc62-495e227921e9" providerId="ADAL" clId="{7BA84AA0-DF91-44A9-A18C-3379702B0E32}" dt="2023-09-06T12:22:31.863" v="32379" actId="478"/>
          <ac:spMkLst>
            <pc:docMk/>
            <pc:sldMk cId="476862691" sldId="2147479630"/>
            <ac:spMk id="32" creationId="{9FF5CDFA-1489-0B41-139F-A4D645850C9A}"/>
          </ac:spMkLst>
        </pc:spChg>
        <pc:spChg chg="add mod">
          <ac:chgData name="Srivaths Swaminathan" userId="fab820a8-d04c-4fb7-bc62-495e227921e9" providerId="ADAL" clId="{7BA84AA0-DF91-44A9-A18C-3379702B0E32}" dt="2023-09-06T17:15:55.401" v="36927" actId="20577"/>
          <ac:spMkLst>
            <pc:docMk/>
            <pc:sldMk cId="476862691" sldId="2147479630"/>
            <ac:spMk id="33" creationId="{0E9B1D59-AC9D-3C9E-91DD-F3D7547ED69D}"/>
          </ac:spMkLst>
        </pc:spChg>
        <pc:spChg chg="add del mod">
          <ac:chgData name="Srivaths Swaminathan" userId="fab820a8-d04c-4fb7-bc62-495e227921e9" providerId="ADAL" clId="{7BA84AA0-DF91-44A9-A18C-3379702B0E32}" dt="2023-09-06T13:44:28.259" v="34277" actId="478"/>
          <ac:spMkLst>
            <pc:docMk/>
            <pc:sldMk cId="476862691" sldId="2147479630"/>
            <ac:spMk id="34" creationId="{1D6B516F-2C5A-61DC-4595-64EFB70202EE}"/>
          </ac:spMkLst>
        </pc:spChg>
        <pc:spChg chg="add mod">
          <ac:chgData name="Srivaths Swaminathan" userId="fab820a8-d04c-4fb7-bc62-495e227921e9" providerId="ADAL" clId="{7BA84AA0-DF91-44A9-A18C-3379702B0E32}" dt="2023-09-06T15:12:00.779" v="36236" actId="207"/>
          <ac:spMkLst>
            <pc:docMk/>
            <pc:sldMk cId="476862691" sldId="2147479630"/>
            <ac:spMk id="35" creationId="{2BF3CAE0-6873-3029-206C-221F0C937AA3}"/>
          </ac:spMkLst>
        </pc:spChg>
        <pc:spChg chg="add mod">
          <ac:chgData name="Srivaths Swaminathan" userId="fab820a8-d04c-4fb7-bc62-495e227921e9" providerId="ADAL" clId="{7BA84AA0-DF91-44A9-A18C-3379702B0E32}" dt="2023-09-06T15:12:26.286" v="36240" actId="207"/>
          <ac:spMkLst>
            <pc:docMk/>
            <pc:sldMk cId="476862691" sldId="2147479630"/>
            <ac:spMk id="36" creationId="{297AFEEA-7B8D-04E6-A500-41877FB5E949}"/>
          </ac:spMkLst>
        </pc:spChg>
        <pc:spChg chg="add del mod modVis">
          <ac:chgData name="Srivaths Swaminathan" userId="fab820a8-d04c-4fb7-bc62-495e227921e9" providerId="ADAL" clId="{7BA84AA0-DF91-44A9-A18C-3379702B0E32}" dt="2023-09-06T13:46:17.151" v="34445"/>
          <ac:spMkLst>
            <pc:docMk/>
            <pc:sldMk cId="476862691" sldId="2147479630"/>
            <ac:spMk id="37" creationId="{0F271B45-F5E0-30F5-6EB9-3568F548CD41}"/>
          </ac:spMkLst>
        </pc:spChg>
        <pc:spChg chg="add mod">
          <ac:chgData name="Srivaths Swaminathan" userId="fab820a8-d04c-4fb7-bc62-495e227921e9" providerId="ADAL" clId="{7BA84AA0-DF91-44A9-A18C-3379702B0E32}" dt="2023-09-06T15:11:50.336" v="36234" actId="207"/>
          <ac:spMkLst>
            <pc:docMk/>
            <pc:sldMk cId="476862691" sldId="2147479630"/>
            <ac:spMk id="38" creationId="{4D289EEB-FADA-2068-6428-51D422DFB0EC}"/>
          </ac:spMkLst>
        </pc:spChg>
        <pc:spChg chg="add mod">
          <ac:chgData name="Srivaths Swaminathan" userId="fab820a8-d04c-4fb7-bc62-495e227921e9" providerId="ADAL" clId="{7BA84AA0-DF91-44A9-A18C-3379702B0E32}" dt="2023-09-06T15:23:43.368" v="36327" actId="20577"/>
          <ac:spMkLst>
            <pc:docMk/>
            <pc:sldMk cId="476862691" sldId="2147479630"/>
            <ac:spMk id="39" creationId="{326FE07B-C329-8D20-07BA-A358FC243123}"/>
          </ac:spMkLst>
        </pc:spChg>
        <pc:graphicFrameChg chg="mod">
          <ac:chgData name="Srivaths Swaminathan" userId="fab820a8-d04c-4fb7-bc62-495e227921e9" providerId="ADAL" clId="{7BA84AA0-DF91-44A9-A18C-3379702B0E32}" dt="2023-09-06T13:46:17.155" v="34447"/>
          <ac:graphicFrameMkLst>
            <pc:docMk/>
            <pc:sldMk cId="476862691" sldId="2147479630"/>
            <ac:graphicFrameMk id="6" creationId="{EDFA9C19-2135-724C-1613-9349AE517837}"/>
          </ac:graphicFrameMkLst>
        </pc:graphicFrameChg>
      </pc:sldChg>
      <pc:sldChg chg="addSp delSp modSp add del mod ord">
        <pc:chgData name="Srivaths Swaminathan" userId="fab820a8-d04c-4fb7-bc62-495e227921e9" providerId="ADAL" clId="{7BA84AA0-DF91-44A9-A18C-3379702B0E32}" dt="2023-09-07T08:28:41.325" v="36995" actId="1036"/>
        <pc:sldMkLst>
          <pc:docMk/>
          <pc:sldMk cId="2997844699" sldId="2147479631"/>
        </pc:sldMkLst>
        <pc:spChg chg="mod ord">
          <ac:chgData name="Srivaths Swaminathan" userId="fab820a8-d04c-4fb7-bc62-495e227921e9" providerId="ADAL" clId="{7BA84AA0-DF91-44A9-A18C-3379702B0E32}" dt="2023-09-06T15:31:11.711" v="36749" actId="1076"/>
          <ac:spMkLst>
            <pc:docMk/>
            <pc:sldMk cId="2997844699" sldId="2147479631"/>
            <ac:spMk id="2" creationId="{A0A539C7-696A-7DF3-6837-C3696F000047}"/>
          </ac:spMkLst>
        </pc:spChg>
        <pc:spChg chg="del">
          <ac:chgData name="Srivaths Swaminathan" userId="fab820a8-d04c-4fb7-bc62-495e227921e9" providerId="ADAL" clId="{7BA84AA0-DF91-44A9-A18C-3379702B0E32}" dt="2023-09-06T14:56:05.568" v="35813" actId="478"/>
          <ac:spMkLst>
            <pc:docMk/>
            <pc:sldMk cId="2997844699" sldId="2147479631"/>
            <ac:spMk id="3" creationId="{5ED6C8A5-FD0C-E265-84A2-47E65A1B8275}"/>
          </ac:spMkLst>
        </pc:spChg>
        <pc:spChg chg="del mod ord">
          <ac:chgData name="Srivaths Swaminathan" userId="fab820a8-d04c-4fb7-bc62-495e227921e9" providerId="ADAL" clId="{7BA84AA0-DF91-44A9-A18C-3379702B0E32}" dt="2023-09-06T15:31:14.986" v="36752" actId="478"/>
          <ac:spMkLst>
            <pc:docMk/>
            <pc:sldMk cId="2997844699" sldId="2147479631"/>
            <ac:spMk id="4" creationId="{88200F8F-B90B-3AEF-EC9E-717DBEFBACD6}"/>
          </ac:spMkLst>
        </pc:spChg>
        <pc:spChg chg="add mod ord">
          <ac:chgData name="Srivaths Swaminathan" userId="fab820a8-d04c-4fb7-bc62-495e227921e9" providerId="ADAL" clId="{7BA84AA0-DF91-44A9-A18C-3379702B0E32}" dt="2023-09-06T17:47:54.610" v="36928" actId="14100"/>
          <ac:spMkLst>
            <pc:docMk/>
            <pc:sldMk cId="2997844699" sldId="2147479631"/>
            <ac:spMk id="5" creationId="{DE252F8B-C6A1-13A0-0B4E-372799A59ADE}"/>
          </ac:spMkLst>
        </pc:spChg>
        <pc:spChg chg="mod or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7" creationId="{485FD7B2-FB92-815C-45F0-FCCA05431D19}"/>
          </ac:spMkLst>
        </pc:spChg>
        <pc:spChg chg="mod ord">
          <ac:chgData name="Srivaths Swaminathan" userId="fab820a8-d04c-4fb7-bc62-495e227921e9" providerId="ADAL" clId="{7BA84AA0-DF91-44A9-A18C-3379702B0E32}" dt="2023-09-06T17:48:14.364" v="36967" actId="14100"/>
          <ac:spMkLst>
            <pc:docMk/>
            <pc:sldMk cId="2997844699" sldId="2147479631"/>
            <ac:spMk id="8" creationId="{6412EBE6-B8E1-E426-8024-4B16322734CD}"/>
          </ac:spMkLst>
        </pc:spChg>
        <pc:spChg chg="add mod or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9" creationId="{D567DD1C-97E6-7967-5943-8A904AA4034D}"/>
          </ac:spMkLst>
        </pc:spChg>
        <pc:spChg chg="add mod ord">
          <ac:chgData name="Srivaths Swaminathan" userId="fab820a8-d04c-4fb7-bc62-495e227921e9" providerId="ADAL" clId="{7BA84AA0-DF91-44A9-A18C-3379702B0E32}" dt="2023-09-06T15:36:48.021" v="36904" actId="14100"/>
          <ac:spMkLst>
            <pc:docMk/>
            <pc:sldMk cId="2997844699" sldId="2147479631"/>
            <ac:spMk id="10" creationId="{8C03C1FB-30D0-C5E8-17EA-41A02096875D}"/>
          </ac:spMkLst>
        </pc:spChg>
        <pc:spChg chg="add mod ord">
          <ac:chgData name="Srivaths Swaminathan" userId="fab820a8-d04c-4fb7-bc62-495e227921e9" providerId="ADAL" clId="{7BA84AA0-DF91-44A9-A18C-3379702B0E32}" dt="2023-09-07T08:25:32.777" v="36986" actId="20577"/>
          <ac:spMkLst>
            <pc:docMk/>
            <pc:sldMk cId="2997844699" sldId="2147479631"/>
            <ac:spMk id="11" creationId="{8A243A0D-ADF3-557F-20B6-F6FA400958CA}"/>
          </ac:spMkLst>
        </pc:spChg>
        <pc:spChg chg="add mod ord">
          <ac:chgData name="Srivaths Swaminathan" userId="fab820a8-d04c-4fb7-bc62-495e227921e9" providerId="ADAL" clId="{7BA84AA0-DF91-44A9-A18C-3379702B0E32}" dt="2023-09-06T15:37:46.131" v="36910" actId="14100"/>
          <ac:spMkLst>
            <pc:docMk/>
            <pc:sldMk cId="2997844699" sldId="2147479631"/>
            <ac:spMk id="12" creationId="{2D1B79AE-FFA5-449B-0727-365A6B630A4A}"/>
          </ac:spMkLst>
        </pc:spChg>
        <pc:spChg chg="add mod ord">
          <ac:chgData name="Srivaths Swaminathan" userId="fab820a8-d04c-4fb7-bc62-495e227921e9" providerId="ADAL" clId="{7BA84AA0-DF91-44A9-A18C-3379702B0E32}" dt="2023-09-06T15:37:53.207" v="36912" actId="14100"/>
          <ac:spMkLst>
            <pc:docMk/>
            <pc:sldMk cId="2997844699" sldId="2147479631"/>
            <ac:spMk id="13" creationId="{DA17636C-2728-7EEA-FBDE-B8E6CBB66261}"/>
          </ac:spMkLst>
        </pc:spChg>
        <pc:spChg chg="add del mod modVis">
          <ac:chgData name="Srivaths Swaminathan" userId="fab820a8-d04c-4fb7-bc62-495e227921e9" providerId="ADAL" clId="{7BA84AA0-DF91-44A9-A18C-3379702B0E32}" dt="2023-09-06T15:05:38.373" v="36131"/>
          <ac:spMkLst>
            <pc:docMk/>
            <pc:sldMk cId="2997844699" sldId="2147479631"/>
            <ac:spMk id="14" creationId="{00579522-56D8-1C43-3C63-FA72D822D1C6}"/>
          </ac:spMkLst>
        </pc:spChg>
        <pc:spChg chg="del">
          <ac:chgData name="Srivaths Swaminathan" userId="fab820a8-d04c-4fb7-bc62-495e227921e9" providerId="ADAL" clId="{7BA84AA0-DF91-44A9-A18C-3379702B0E32}" dt="2023-09-06T14:56:05.568" v="35813" actId="478"/>
          <ac:spMkLst>
            <pc:docMk/>
            <pc:sldMk cId="2997844699" sldId="2147479631"/>
            <ac:spMk id="15" creationId="{1B3B647A-55A4-F415-39AD-FF3A993370A0}"/>
          </ac:spMkLst>
        </pc:spChg>
        <pc:spChg chg="del">
          <ac:chgData name="Srivaths Swaminathan" userId="fab820a8-d04c-4fb7-bc62-495e227921e9" providerId="ADAL" clId="{7BA84AA0-DF91-44A9-A18C-3379702B0E32}" dt="2023-09-06T14:56:05.568" v="35813" actId="478"/>
          <ac:spMkLst>
            <pc:docMk/>
            <pc:sldMk cId="2997844699" sldId="2147479631"/>
            <ac:spMk id="16" creationId="{35E08D05-7AD8-F49F-BAC2-1310A91050AE}"/>
          </ac:spMkLst>
        </pc:spChg>
        <pc:spChg chg="mod ord">
          <ac:chgData name="Srivaths Swaminathan" userId="fab820a8-d04c-4fb7-bc62-495e227921e9" providerId="ADAL" clId="{7BA84AA0-DF91-44A9-A18C-3379702B0E32}" dt="2023-09-06T15:06:24.573" v="36155" actId="1036"/>
          <ac:spMkLst>
            <pc:docMk/>
            <pc:sldMk cId="2997844699" sldId="2147479631"/>
            <ac:spMk id="17" creationId="{7062E827-77F2-F22B-2B14-860AA6809B1E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18" creationId="{F85D4CC9-301B-3B57-19E5-A00ADB4E3BBD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19" creationId="{C69E5780-AED2-85AB-BB16-59C7262777F8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0" creationId="{BFC4E13B-2F22-2FD8-AAD6-11E228C6F0C7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1" creationId="{79ABECB8-6179-E176-341E-2F3A5F60C9D2}"/>
          </ac:spMkLst>
        </pc:spChg>
        <pc:spChg chg="del mod ord">
          <ac:chgData name="Srivaths Swaminathan" userId="fab820a8-d04c-4fb7-bc62-495e227921e9" providerId="ADAL" clId="{7BA84AA0-DF91-44A9-A18C-3379702B0E32}" dt="2023-09-06T15:06:19.313" v="36137" actId="478"/>
          <ac:spMkLst>
            <pc:docMk/>
            <pc:sldMk cId="2997844699" sldId="2147479631"/>
            <ac:spMk id="22" creationId="{6B103AA0-AEC2-6421-4F2A-45341979275A}"/>
          </ac:spMkLst>
        </pc:spChg>
        <pc:spChg chg="del mod ord">
          <ac:chgData name="Srivaths Swaminathan" userId="fab820a8-d04c-4fb7-bc62-495e227921e9" providerId="ADAL" clId="{7BA84AA0-DF91-44A9-A18C-3379702B0E32}" dt="2023-09-06T15:06:19.313" v="36137" actId="478"/>
          <ac:spMkLst>
            <pc:docMk/>
            <pc:sldMk cId="2997844699" sldId="2147479631"/>
            <ac:spMk id="23" creationId="{5B9AC56B-9744-E608-A840-7437A9352C95}"/>
          </ac:spMkLst>
        </pc:spChg>
        <pc:spChg chg="del mod ord">
          <ac:chgData name="Srivaths Swaminathan" userId="fab820a8-d04c-4fb7-bc62-495e227921e9" providerId="ADAL" clId="{7BA84AA0-DF91-44A9-A18C-3379702B0E32}" dt="2023-09-06T15:06:19.313" v="36137" actId="478"/>
          <ac:spMkLst>
            <pc:docMk/>
            <pc:sldMk cId="2997844699" sldId="2147479631"/>
            <ac:spMk id="24" creationId="{D26FDA03-C165-AE13-328B-1E2C148FA5F1}"/>
          </ac:spMkLst>
        </pc:spChg>
        <pc:spChg chg="del mod ord">
          <ac:chgData name="Srivaths Swaminathan" userId="fab820a8-d04c-4fb7-bc62-495e227921e9" providerId="ADAL" clId="{7BA84AA0-DF91-44A9-A18C-3379702B0E32}" dt="2023-09-06T15:06:19.313" v="36137" actId="478"/>
          <ac:spMkLst>
            <pc:docMk/>
            <pc:sldMk cId="2997844699" sldId="2147479631"/>
            <ac:spMk id="25" creationId="{E643EA8A-E312-5430-4907-8F5417826CF0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6" creationId="{18CD086C-2BA5-6F48-FD34-5D5311B1D6CC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7" creationId="{FA32F913-4EF9-D27B-FBC9-90ADD71A261C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8" creationId="{4B33FF9D-A61A-2642-1C4B-5DC3031D553F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29" creationId="{97FB63CC-3E6A-70FC-1059-A0A8460E52F7}"/>
          </ac:spMkLst>
        </pc:spChg>
        <pc:spChg chg="del mod ord">
          <ac:chgData name="Srivaths Swaminathan" userId="fab820a8-d04c-4fb7-bc62-495e227921e9" providerId="ADAL" clId="{7BA84AA0-DF91-44A9-A18C-3379702B0E32}" dt="2023-09-06T15:30:43.499" v="36688" actId="478"/>
          <ac:spMkLst>
            <pc:docMk/>
            <pc:sldMk cId="2997844699" sldId="2147479631"/>
            <ac:spMk id="30" creationId="{AF13E415-E5DD-55D0-7549-EFDA1DC5C989}"/>
          </ac:spMkLst>
        </pc:spChg>
        <pc:spChg chg="del mod ord">
          <ac:chgData name="Srivaths Swaminathan" userId="fab820a8-d04c-4fb7-bc62-495e227921e9" providerId="ADAL" clId="{7BA84AA0-DF91-44A9-A18C-3379702B0E32}" dt="2023-09-06T15:30:43.499" v="36688" actId="478"/>
          <ac:spMkLst>
            <pc:docMk/>
            <pc:sldMk cId="2997844699" sldId="2147479631"/>
            <ac:spMk id="31" creationId="{EC77D846-A4CD-FA54-68F1-DA4717816C5F}"/>
          </ac:spMkLst>
        </pc:spChg>
        <pc:spChg chg="del mod ord">
          <ac:chgData name="Srivaths Swaminathan" userId="fab820a8-d04c-4fb7-bc62-495e227921e9" providerId="ADAL" clId="{7BA84AA0-DF91-44A9-A18C-3379702B0E32}" dt="2023-09-06T15:31:14.986" v="36752" actId="478"/>
          <ac:spMkLst>
            <pc:docMk/>
            <pc:sldMk cId="2997844699" sldId="2147479631"/>
            <ac:spMk id="32" creationId="{9FF5CDFA-1489-0B41-139F-A4D645850C9A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33" creationId="{07190204-6ABD-A7B3-ACEB-74713A130B71}"/>
          </ac:spMkLst>
        </pc:spChg>
        <pc:spChg chg="add mod">
          <ac:chgData name="Srivaths Swaminathan" userId="fab820a8-d04c-4fb7-bc62-495e227921e9" providerId="ADAL" clId="{7BA84AA0-DF91-44A9-A18C-3379702B0E32}" dt="2023-09-06T15:08:45.339" v="36173" actId="571"/>
          <ac:spMkLst>
            <pc:docMk/>
            <pc:sldMk cId="2997844699" sldId="2147479631"/>
            <ac:spMk id="34" creationId="{9FB33F37-ED5D-3CE3-4154-5C9A7F8A57A4}"/>
          </ac:spMkLst>
        </pc:spChg>
        <pc:spChg chg="add del mod">
          <ac:chgData name="Srivaths Swaminathan" userId="fab820a8-d04c-4fb7-bc62-495e227921e9" providerId="ADAL" clId="{7BA84AA0-DF91-44A9-A18C-3379702B0E32}" dt="2023-09-06T15:30:03.186" v="36609" actId="478"/>
          <ac:spMkLst>
            <pc:docMk/>
            <pc:sldMk cId="2997844699" sldId="2147479631"/>
            <ac:spMk id="35" creationId="{6B377CF4-FDF7-E56F-3C0B-8DFB42D36404}"/>
          </ac:spMkLst>
        </pc:spChg>
        <pc:spChg chg="add del mod">
          <ac:chgData name="Srivaths Swaminathan" userId="fab820a8-d04c-4fb7-bc62-495e227921e9" providerId="ADAL" clId="{7BA84AA0-DF91-44A9-A18C-3379702B0E32}" dt="2023-09-06T15:30:03.186" v="36609" actId="478"/>
          <ac:spMkLst>
            <pc:docMk/>
            <pc:sldMk cId="2997844699" sldId="2147479631"/>
            <ac:spMk id="36" creationId="{66BAC154-0832-A47B-C6BC-101987ADE69B}"/>
          </ac:spMkLst>
        </pc:spChg>
        <pc:spChg chg="add del mod">
          <ac:chgData name="Srivaths Swaminathan" userId="fab820a8-d04c-4fb7-bc62-495e227921e9" providerId="ADAL" clId="{7BA84AA0-DF91-44A9-A18C-3379702B0E32}" dt="2023-09-06T15:30:03.186" v="36609" actId="478"/>
          <ac:spMkLst>
            <pc:docMk/>
            <pc:sldMk cId="2997844699" sldId="2147479631"/>
            <ac:spMk id="37" creationId="{97B3A54A-7CE1-A1C4-5FCB-52E2A7D5FC8C}"/>
          </ac:spMkLst>
        </pc:spChg>
        <pc:spChg chg="add del mod">
          <ac:chgData name="Srivaths Swaminathan" userId="fab820a8-d04c-4fb7-bc62-495e227921e9" providerId="ADAL" clId="{7BA84AA0-DF91-44A9-A18C-3379702B0E32}" dt="2023-09-06T15:11:06.882" v="36229"/>
          <ac:spMkLst>
            <pc:docMk/>
            <pc:sldMk cId="2997844699" sldId="2147479631"/>
            <ac:spMk id="38" creationId="{955EB537-B594-D76B-B4E1-561394D9A259}"/>
          </ac:spMkLst>
        </pc:spChg>
        <pc:spChg chg="add del mod">
          <ac:chgData name="Srivaths Swaminathan" userId="fab820a8-d04c-4fb7-bc62-495e227921e9" providerId="ADAL" clId="{7BA84AA0-DF91-44A9-A18C-3379702B0E32}" dt="2023-09-06T15:30:03.186" v="36609" actId="478"/>
          <ac:spMkLst>
            <pc:docMk/>
            <pc:sldMk cId="2997844699" sldId="2147479631"/>
            <ac:spMk id="39" creationId="{A098F340-A62F-3406-7872-08A5B1B09491}"/>
          </ac:spMkLst>
        </pc:spChg>
        <pc:spChg chg="add del mod">
          <ac:chgData name="Srivaths Swaminathan" userId="fab820a8-d04c-4fb7-bc62-495e227921e9" providerId="ADAL" clId="{7BA84AA0-DF91-44A9-A18C-3379702B0E32}" dt="2023-09-06T15:30:03.186" v="36609" actId="478"/>
          <ac:spMkLst>
            <pc:docMk/>
            <pc:sldMk cId="2997844699" sldId="2147479631"/>
            <ac:spMk id="40" creationId="{2F1AAA58-D848-8AB3-9B33-FD74279E0020}"/>
          </ac:spMkLst>
        </pc:spChg>
        <pc:spChg chg="add del mod modVis">
          <ac:chgData name="Srivaths Swaminathan" userId="fab820a8-d04c-4fb7-bc62-495e227921e9" providerId="ADAL" clId="{7BA84AA0-DF91-44A9-A18C-3379702B0E32}" dt="2023-09-06T15:31:11.710" v="36747" actId="962"/>
          <ac:spMkLst>
            <pc:docMk/>
            <pc:sldMk cId="2997844699" sldId="2147479631"/>
            <ac:spMk id="41" creationId="{69A42A61-EEFB-6938-C5DD-1DFC424A32AA}"/>
          </ac:spMkLst>
        </pc:spChg>
        <pc:spChg chg="add del mod">
          <ac:chgData name="Srivaths Swaminathan" userId="fab820a8-d04c-4fb7-bc62-495e227921e9" providerId="ADAL" clId="{7BA84AA0-DF91-44A9-A18C-3379702B0E32}" dt="2023-09-06T15:31:25.697" v="36771"/>
          <ac:spMkLst>
            <pc:docMk/>
            <pc:sldMk cId="2997844699" sldId="2147479631"/>
            <ac:spMk id="42" creationId="{BC7E2A67-F06F-5563-5533-61E8DE552470}"/>
          </ac:spMkLst>
        </pc:spChg>
        <pc:spChg chg="add del mod">
          <ac:chgData name="Srivaths Swaminathan" userId="fab820a8-d04c-4fb7-bc62-495e227921e9" providerId="ADAL" clId="{7BA84AA0-DF91-44A9-A18C-3379702B0E32}" dt="2023-09-06T15:31:25.697" v="36771"/>
          <ac:spMkLst>
            <pc:docMk/>
            <pc:sldMk cId="2997844699" sldId="2147479631"/>
            <ac:spMk id="43" creationId="{A92B2D26-369A-686E-E112-DABD530B36F9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4" creationId="{558B19D4-B4C8-DBC5-8781-3EEF1A822724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5" creationId="{958A39F8-937B-E9A4-6161-AD9A88488423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6" creationId="{4A9E9842-8839-ECD6-06C0-5A21D70B9809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7" creationId="{39C85F00-5603-C130-B226-B86146758A45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8" creationId="{B4E6165A-A332-6C25-CFD5-F523DB0C5A2F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49" creationId="{8B68056E-A2E4-94D0-6ECE-4FABDD0EE3EC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50" creationId="{FC38EF9F-B1BA-FD9D-3829-8167B3132ED6}"/>
          </ac:spMkLst>
        </pc:spChg>
        <pc:spChg chg="add mod">
          <ac:chgData name="Srivaths Swaminathan" userId="fab820a8-d04c-4fb7-bc62-495e227921e9" providerId="ADAL" clId="{7BA84AA0-DF91-44A9-A18C-3379702B0E32}" dt="2023-09-07T08:28:41.325" v="36995" actId="1036"/>
          <ac:spMkLst>
            <pc:docMk/>
            <pc:sldMk cId="2997844699" sldId="2147479631"/>
            <ac:spMk id="51" creationId="{4A52DA71-1C39-7AF0-F169-11A472FC4F06}"/>
          </ac:spMkLst>
        </pc:spChg>
        <pc:spChg chg="mod">
          <ac:chgData name="Srivaths Swaminathan" userId="fab820a8-d04c-4fb7-bc62-495e227921e9" providerId="ADAL" clId="{7BA84AA0-DF91-44A9-A18C-3379702B0E32}" dt="2023-09-06T17:15:42.441" v="36925" actId="113"/>
          <ac:spMkLst>
            <pc:docMk/>
            <pc:sldMk cId="2997844699" sldId="2147479631"/>
            <ac:spMk id="59" creationId="{B8832B2E-F6EA-0012-0C45-D3B4BAAE880A}"/>
          </ac:spMkLst>
        </pc:spChg>
        <pc:graphicFrameChg chg="mod">
          <ac:chgData name="Srivaths Swaminathan" userId="fab820a8-d04c-4fb7-bc62-495e227921e9" providerId="ADAL" clId="{7BA84AA0-DF91-44A9-A18C-3379702B0E32}" dt="2023-09-06T15:31:11.815" v="36751"/>
          <ac:graphicFrameMkLst>
            <pc:docMk/>
            <pc:sldMk cId="2997844699" sldId="2147479631"/>
            <ac:graphicFrameMk id="6" creationId="{EDFA9C19-2135-724C-1613-9349AE517837}"/>
          </ac:graphicFrameMkLst>
        </pc:graphicFrameChg>
      </pc:sldChg>
      <pc:sldChg chg="addSp delSp modSp add del mod">
        <pc:chgData name="Srivaths Swaminathan" userId="fab820a8-d04c-4fb7-bc62-495e227921e9" providerId="ADAL" clId="{7BA84AA0-DF91-44A9-A18C-3379702B0E32}" dt="2023-09-07T08:23:13.220" v="36968" actId="113"/>
        <pc:sldMkLst>
          <pc:docMk/>
          <pc:sldMk cId="1579863136" sldId="2147479632"/>
        </pc:sldMkLst>
        <pc:spChg chg="mod">
          <ac:chgData name="Srivaths Swaminathan" userId="fab820a8-d04c-4fb7-bc62-495e227921e9" providerId="ADAL" clId="{7BA84AA0-DF91-44A9-A18C-3379702B0E32}" dt="2023-09-06T15:29:10.851" v="36567" actId="948"/>
          <ac:spMkLst>
            <pc:docMk/>
            <pc:sldMk cId="1579863136" sldId="2147479632"/>
            <ac:spMk id="2" creationId="{A0A539C7-696A-7DF3-6837-C3696F000047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3" creationId="{66EF4948-C2FC-C690-FCFF-35DA7DFFDB2F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4" creationId="{88200F8F-B90B-3AEF-EC9E-717DBEFBACD6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5" creationId="{DE252F8B-C6A1-13A0-0B4E-372799A59ADE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7" creationId="{485FD7B2-FB92-815C-45F0-FCCA05431D19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8" creationId="{6412EBE6-B8E1-E426-8024-4B16322734CD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9" creationId="{D567DD1C-97E6-7967-5943-8A904AA4034D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10" creationId="{8C03C1FB-30D0-C5E8-17EA-41A02096875D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11" creationId="{8A243A0D-ADF3-557F-20B6-F6FA400958CA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12" creationId="{2D1B79AE-FFA5-449B-0727-365A6B630A4A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13" creationId="{DA17636C-2728-7EEA-FBDE-B8E6CBB66261}"/>
          </ac:spMkLst>
        </pc:spChg>
        <pc:spChg chg="add del mod">
          <ac:chgData name="Srivaths Swaminathan" userId="fab820a8-d04c-4fb7-bc62-495e227921e9" providerId="ADAL" clId="{7BA84AA0-DF91-44A9-A18C-3379702B0E32}" dt="2023-09-06T15:25:21.278" v="36349" actId="478"/>
          <ac:spMkLst>
            <pc:docMk/>
            <pc:sldMk cId="1579863136" sldId="2147479632"/>
            <ac:spMk id="14" creationId="{E46B340B-8EC7-15A2-77A5-1B83EDF56C47}"/>
          </ac:spMkLst>
        </pc:spChg>
        <pc:spChg chg="add del mod">
          <ac:chgData name="Srivaths Swaminathan" userId="fab820a8-d04c-4fb7-bc62-495e227921e9" providerId="ADAL" clId="{7BA84AA0-DF91-44A9-A18C-3379702B0E32}" dt="2023-09-06T15:26:17.884" v="36361" actId="478"/>
          <ac:spMkLst>
            <pc:docMk/>
            <pc:sldMk cId="1579863136" sldId="2147479632"/>
            <ac:spMk id="15" creationId="{05486457-DA19-DD28-F0E2-A7563480BF92}"/>
          </ac:spMkLst>
        </pc:spChg>
        <pc:spChg chg="add del mod">
          <ac:chgData name="Srivaths Swaminathan" userId="fab820a8-d04c-4fb7-bc62-495e227921e9" providerId="ADAL" clId="{7BA84AA0-DF91-44A9-A18C-3379702B0E32}" dt="2023-09-06T15:26:08.993" v="36358" actId="478"/>
          <ac:spMkLst>
            <pc:docMk/>
            <pc:sldMk cId="1579863136" sldId="2147479632"/>
            <ac:spMk id="16" creationId="{AD189831-C0A7-BC39-72A8-EE0CB8B9B530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17" creationId="{7062E827-77F2-F22B-2B14-860AA6809B1E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18" creationId="{14CC9EF0-FDD6-93CB-D92D-78EAFFE28F1A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19" creationId="{A1248E86-BEAC-8E43-6EF3-2D10F45EB93B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20" creationId="{18728B98-CFD3-F49E-2B7B-D8A627006BE9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21" creationId="{3AD6947D-0B21-D445-0FBE-97BF5CDEEAC7}"/>
          </ac:spMkLst>
        </pc:spChg>
        <pc:spChg chg="add 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22" creationId="{C868A0FF-570C-6768-6A12-068846D77613}"/>
          </ac:spMkLst>
        </pc:spChg>
        <pc:spChg chg="add del mod modVis">
          <ac:chgData name="Srivaths Swaminathan" userId="fab820a8-d04c-4fb7-bc62-495e227921e9" providerId="ADAL" clId="{7BA84AA0-DF91-44A9-A18C-3379702B0E32}" dt="2023-09-06T15:29:07.848" v="36523"/>
          <ac:spMkLst>
            <pc:docMk/>
            <pc:sldMk cId="1579863136" sldId="2147479632"/>
            <ac:spMk id="29" creationId="{FF34D4A9-34A8-3046-9C82-9FC6665D3792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30" creationId="{AF13E415-E5DD-55D0-7549-EFDA1DC5C989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31" creationId="{EC77D846-A4CD-FA54-68F1-DA4717816C5F}"/>
          </ac:spMkLst>
        </pc:spChg>
        <pc:spChg chg="del">
          <ac:chgData name="Srivaths Swaminathan" userId="fab820a8-d04c-4fb7-bc62-495e227921e9" providerId="ADAL" clId="{7BA84AA0-DF91-44A9-A18C-3379702B0E32}" dt="2023-09-06T15:21:49.632" v="36300" actId="478"/>
          <ac:spMkLst>
            <pc:docMk/>
            <pc:sldMk cId="1579863136" sldId="2147479632"/>
            <ac:spMk id="32" creationId="{9FF5CDFA-1489-0B41-139F-A4D645850C9A}"/>
          </ac:spMkLst>
        </pc:spChg>
        <pc:spChg chg="add del mod modVis">
          <ac:chgData name="Srivaths Swaminathan" userId="fab820a8-d04c-4fb7-bc62-495e227921e9" providerId="ADAL" clId="{7BA84AA0-DF91-44A9-A18C-3379702B0E32}" dt="2023-09-06T15:29:08.478" v="36551"/>
          <ac:spMkLst>
            <pc:docMk/>
            <pc:sldMk cId="1579863136" sldId="2147479632"/>
            <ac:spMk id="33" creationId="{1D36ED71-1A6A-1BC1-DB6C-0B03B386B1E8}"/>
          </ac:spMkLst>
        </pc:spChg>
        <pc:spChg chg="add del mod modVis">
          <ac:chgData name="Srivaths Swaminathan" userId="fab820a8-d04c-4fb7-bc62-495e227921e9" providerId="ADAL" clId="{7BA84AA0-DF91-44A9-A18C-3379702B0E32}" dt="2023-09-06T15:29:10.901" v="36591"/>
          <ac:spMkLst>
            <pc:docMk/>
            <pc:sldMk cId="1579863136" sldId="2147479632"/>
            <ac:spMk id="34" creationId="{CF5DD047-39A2-5F0F-5B14-E37F06D4A335}"/>
          </ac:spMkLst>
        </pc:spChg>
        <pc:spChg chg="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35" creationId="{6B377CF4-FDF7-E56F-3C0B-8DFB42D36404}"/>
          </ac:spMkLst>
        </pc:spChg>
        <pc:spChg chg="mod">
          <ac:chgData name="Srivaths Swaminathan" userId="fab820a8-d04c-4fb7-bc62-495e227921e9" providerId="ADAL" clId="{7BA84AA0-DF91-44A9-A18C-3379702B0E32}" dt="2023-09-07T08:23:13.220" v="36968" actId="113"/>
          <ac:spMkLst>
            <pc:docMk/>
            <pc:sldMk cId="1579863136" sldId="2147479632"/>
            <ac:spMk id="36" creationId="{66BAC154-0832-A47B-C6BC-101987ADE69B}"/>
          </ac:spMkLst>
        </pc:spChg>
        <pc:spChg chg="del">
          <ac:chgData name="Srivaths Swaminathan" userId="fab820a8-d04c-4fb7-bc62-495e227921e9" providerId="ADAL" clId="{7BA84AA0-DF91-44A9-A18C-3379702B0E32}" dt="2023-09-06T15:24:56.658" v="36346" actId="478"/>
          <ac:spMkLst>
            <pc:docMk/>
            <pc:sldMk cId="1579863136" sldId="2147479632"/>
            <ac:spMk id="37" creationId="{97B3A54A-7CE1-A1C4-5FCB-52E2A7D5FC8C}"/>
          </ac:spMkLst>
        </pc:spChg>
        <pc:spChg chg="del">
          <ac:chgData name="Srivaths Swaminathan" userId="fab820a8-d04c-4fb7-bc62-495e227921e9" providerId="ADAL" clId="{7BA84AA0-DF91-44A9-A18C-3379702B0E32}" dt="2023-09-06T15:24:56.658" v="36346" actId="478"/>
          <ac:spMkLst>
            <pc:docMk/>
            <pc:sldMk cId="1579863136" sldId="2147479632"/>
            <ac:spMk id="39" creationId="{A098F340-A62F-3406-7872-08A5B1B09491}"/>
          </ac:spMkLst>
        </pc:spChg>
        <pc:spChg chg="del">
          <ac:chgData name="Srivaths Swaminathan" userId="fab820a8-d04c-4fb7-bc62-495e227921e9" providerId="ADAL" clId="{7BA84AA0-DF91-44A9-A18C-3379702B0E32}" dt="2023-09-06T15:22:00.216" v="36303" actId="478"/>
          <ac:spMkLst>
            <pc:docMk/>
            <pc:sldMk cId="1579863136" sldId="2147479632"/>
            <ac:spMk id="40" creationId="{2F1AAA58-D848-8AB3-9B33-FD74279E0020}"/>
          </ac:spMkLst>
        </pc:spChg>
        <pc:graphicFrameChg chg="mod">
          <ac:chgData name="Srivaths Swaminathan" userId="fab820a8-d04c-4fb7-bc62-495e227921e9" providerId="ADAL" clId="{7BA84AA0-DF91-44A9-A18C-3379702B0E32}" dt="2023-09-06T15:29:10.907" v="36593"/>
          <ac:graphicFrameMkLst>
            <pc:docMk/>
            <pc:sldMk cId="1579863136" sldId="2147479632"/>
            <ac:graphicFrameMk id="6" creationId="{EDFA9C19-2135-724C-1613-9349AE517837}"/>
          </ac:graphicFrameMkLst>
        </pc:graphicFrameChg>
        <pc:cxnChg chg="add mod">
          <ac:chgData name="Srivaths Swaminathan" userId="fab820a8-d04c-4fb7-bc62-495e227921e9" providerId="ADAL" clId="{7BA84AA0-DF91-44A9-A18C-3379702B0E32}" dt="2023-09-06T15:28:59.744" v="36490" actId="1036"/>
          <ac:cxnSpMkLst>
            <pc:docMk/>
            <pc:sldMk cId="1579863136" sldId="2147479632"/>
            <ac:cxnSpMk id="24" creationId="{4C890B8D-BBD4-C053-B744-4F92E1F4CC5E}"/>
          </ac:cxnSpMkLst>
        </pc:cxnChg>
        <pc:cxnChg chg="add mod">
          <ac:chgData name="Srivaths Swaminathan" userId="fab820a8-d04c-4fb7-bc62-495e227921e9" providerId="ADAL" clId="{7BA84AA0-DF91-44A9-A18C-3379702B0E32}" dt="2023-09-06T15:28:52.512" v="36480" actId="1582"/>
          <ac:cxnSpMkLst>
            <pc:docMk/>
            <pc:sldMk cId="1579863136" sldId="2147479632"/>
            <ac:cxnSpMk id="26" creationId="{6524E9A0-4B3D-618E-9B2C-BCCB29572D26}"/>
          </ac:cxnSpMkLst>
        </pc:cxnChg>
        <pc:cxnChg chg="add mod">
          <ac:chgData name="Srivaths Swaminathan" userId="fab820a8-d04c-4fb7-bc62-495e227921e9" providerId="ADAL" clId="{7BA84AA0-DF91-44A9-A18C-3379702B0E32}" dt="2023-09-06T15:28:52.512" v="36480" actId="1582"/>
          <ac:cxnSpMkLst>
            <pc:docMk/>
            <pc:sldMk cId="1579863136" sldId="2147479632"/>
            <ac:cxnSpMk id="28" creationId="{B13FE7F0-2316-59A1-4F5D-ED23125044C0}"/>
          </ac:cxnSpMkLst>
        </pc:cxnChg>
      </pc:sldChg>
      <pc:sldChg chg="add del">
        <pc:chgData name="Srivaths Swaminathan" userId="fab820a8-d04c-4fb7-bc62-495e227921e9" providerId="ADAL" clId="{7BA84AA0-DF91-44A9-A18C-3379702B0E32}" dt="2023-09-06T15:22:11.884" v="36305"/>
        <pc:sldMkLst>
          <pc:docMk/>
          <pc:sldMk cId="2686613733" sldId="2147479633"/>
        </pc:sldMkLst>
      </pc:sldChg>
      <pc:sldMasterChg chg="del delSldLayout">
        <pc:chgData name="Srivaths Swaminathan" userId="fab820a8-d04c-4fb7-bc62-495e227921e9" providerId="ADAL" clId="{7BA84AA0-DF91-44A9-A18C-3379702B0E32}" dt="2023-08-17T18:58:37.475" v="12986" actId="47"/>
        <pc:sldMasterMkLst>
          <pc:docMk/>
          <pc:sldMasterMk cId="1846925173" sldId="2147483846"/>
        </pc:sldMasterMkLst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202947702" sldId="2147483847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931351731" sldId="2147483848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858650088" sldId="2147483849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765532530" sldId="2147483850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784788848" sldId="2147483851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887197298" sldId="2147483852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393917814" sldId="2147483853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775282643" sldId="2147483854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97218241" sldId="2147483855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136750974" sldId="2147483856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3443757807" sldId="2147483857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203136718" sldId="2147483858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931436130" sldId="2147483859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3143423771" sldId="2147483860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195319535" sldId="2147483861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2113221183" sldId="2147483862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1915613372" sldId="2147483863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244748347" sldId="2147483864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169626220" sldId="2147483865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4238455035" sldId="2147483866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1198652703" sldId="2147483867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1706139785" sldId="2147483868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1945634515" sldId="2147483869"/>
          </pc:sldLayoutMkLst>
        </pc:sldLayoutChg>
        <pc:sldLayoutChg chg="del">
          <pc:chgData name="Srivaths Swaminathan" userId="fab820a8-d04c-4fb7-bc62-495e227921e9" providerId="ADAL" clId="{7BA84AA0-DF91-44A9-A18C-3379702B0E32}" dt="2023-08-17T18:58:37.475" v="12986" actId="47"/>
          <pc:sldLayoutMkLst>
            <pc:docMk/>
            <pc:sldMasterMk cId="1846925173" sldId="2147483846"/>
            <pc:sldLayoutMk cId="890878068" sldId="2147483870"/>
          </pc:sldLayoutMkLst>
        </pc:sldLayoutChg>
      </pc:sldMasterChg>
    </pc:docChg>
  </pc:docChgLst>
  <pc:docChgLst>
    <pc:chgData name="Srivaths Swaminathan" userId="S::srivaths.swaminathan@hgcapital.com::fab820a8-d04c-4fb7-bc62-495e227921e9" providerId="AD" clId="Web-{71A1F94F-04B8-F7AE-8309-49FCE75F7295}"/>
    <pc:docChg chg="addSld modSld">
      <pc:chgData name="Srivaths Swaminathan" userId="S::srivaths.swaminathan@hgcapital.com::fab820a8-d04c-4fb7-bc62-495e227921e9" providerId="AD" clId="Web-{71A1F94F-04B8-F7AE-8309-49FCE75F7295}" dt="2023-08-14T10:52:48.308" v="720" actId="20577"/>
      <pc:docMkLst>
        <pc:docMk/>
      </pc:docMkLst>
      <pc:sldChg chg="modSp">
        <pc:chgData name="Srivaths Swaminathan" userId="S::srivaths.swaminathan@hgcapital.com::fab820a8-d04c-4fb7-bc62-495e227921e9" providerId="AD" clId="Web-{71A1F94F-04B8-F7AE-8309-49FCE75F7295}" dt="2023-08-14T10:17:50" v="149" actId="20577"/>
        <pc:sldMkLst>
          <pc:docMk/>
          <pc:sldMk cId="1485362133" sldId="2147479563"/>
        </pc:sldMkLst>
        <pc:spChg chg="mod">
          <ac:chgData name="Srivaths Swaminathan" userId="S::srivaths.swaminathan@hgcapital.com::fab820a8-d04c-4fb7-bc62-495e227921e9" providerId="AD" clId="Web-{71A1F94F-04B8-F7AE-8309-49FCE75F7295}" dt="2023-08-14T10:17:50" v="149" actId="20577"/>
          <ac:spMkLst>
            <pc:docMk/>
            <pc:sldMk cId="1485362133" sldId="2147479563"/>
            <ac:spMk id="14" creationId="{574D6408-7C1E-0CC6-E2A9-97388C2DB56D}"/>
          </ac:spMkLst>
        </pc:spChg>
      </pc:sldChg>
      <pc:sldChg chg="delSp modSp">
        <pc:chgData name="Srivaths Swaminathan" userId="S::srivaths.swaminathan@hgcapital.com::fab820a8-d04c-4fb7-bc62-495e227921e9" providerId="AD" clId="Web-{71A1F94F-04B8-F7AE-8309-49FCE75F7295}" dt="2023-08-14T10:48:59.349" v="612" actId="20577"/>
        <pc:sldMkLst>
          <pc:docMk/>
          <pc:sldMk cId="3666502735" sldId="2147479595"/>
        </pc:sldMkLst>
        <pc:spChg chg="mod">
          <ac:chgData name="Srivaths Swaminathan" userId="S::srivaths.swaminathan@hgcapital.com::fab820a8-d04c-4fb7-bc62-495e227921e9" providerId="AD" clId="Web-{71A1F94F-04B8-F7AE-8309-49FCE75F7295}" dt="2023-08-14T10:27:14.766" v="430" actId="20577"/>
          <ac:spMkLst>
            <pc:docMk/>
            <pc:sldMk cId="3666502735" sldId="2147479595"/>
            <ac:spMk id="5" creationId="{B01EB8F4-73D1-F46D-7C00-66E622D3F678}"/>
          </ac:spMkLst>
        </pc:spChg>
        <pc:spChg chg="del">
          <ac:chgData name="Srivaths Swaminathan" userId="S::srivaths.swaminathan@hgcapital.com::fab820a8-d04c-4fb7-bc62-495e227921e9" providerId="AD" clId="Web-{71A1F94F-04B8-F7AE-8309-49FCE75F7295}" dt="2023-08-14T10:26:31.140" v="394"/>
          <ac:spMkLst>
            <pc:docMk/>
            <pc:sldMk cId="3666502735" sldId="2147479595"/>
            <ac:spMk id="6" creationId="{15CCB14B-69EE-8144-2258-B3D0CD291404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10:44:50.139" v="603" actId="20577"/>
          <ac:spMkLst>
            <pc:docMk/>
            <pc:sldMk cId="3666502735" sldId="2147479595"/>
            <ac:spMk id="11" creationId="{41D24EE6-BC76-1A9D-075B-859110CD8C24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10:43:09.042" v="566" actId="20577"/>
          <ac:spMkLst>
            <pc:docMk/>
            <pc:sldMk cId="3666502735" sldId="2147479595"/>
            <ac:spMk id="13" creationId="{7446E659-F665-CBD9-6796-0A3FD55F4C3A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10:44:59.186" v="608" actId="20577"/>
          <ac:spMkLst>
            <pc:docMk/>
            <pc:sldMk cId="3666502735" sldId="2147479595"/>
            <ac:spMk id="14" creationId="{11D72856-26EE-20B0-0448-44197C13C391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10:48:59.349" v="612" actId="20577"/>
          <ac:spMkLst>
            <pc:docMk/>
            <pc:sldMk cId="3666502735" sldId="2147479595"/>
            <ac:spMk id="15" creationId="{951EC86C-7AA9-9BA2-B9B6-01D23C423992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09:43:09.365" v="46" actId="1076"/>
          <ac:spMkLst>
            <pc:docMk/>
            <pc:sldMk cId="3666502735" sldId="2147479595"/>
            <ac:spMk id="19" creationId="{536E15A8-17F3-8F27-99D4-9033EBEB84D7}"/>
          </ac:spMkLst>
        </pc:spChg>
      </pc:sldChg>
      <pc:sldChg chg="addSp delSp modSp">
        <pc:chgData name="Srivaths Swaminathan" userId="S::srivaths.swaminathan@hgcapital.com::fab820a8-d04c-4fb7-bc62-495e227921e9" providerId="AD" clId="Web-{71A1F94F-04B8-F7AE-8309-49FCE75F7295}" dt="2023-08-14T10:52:48.308" v="720" actId="20577"/>
        <pc:sldMkLst>
          <pc:docMk/>
          <pc:sldMk cId="891120514" sldId="2147479596"/>
        </pc:sldMkLst>
        <pc:spChg chg="add del">
          <ac:chgData name="Srivaths Swaminathan" userId="S::srivaths.swaminathan@hgcapital.com::fab820a8-d04c-4fb7-bc62-495e227921e9" providerId="AD" clId="Web-{71A1F94F-04B8-F7AE-8309-49FCE75F7295}" dt="2023-08-14T09:46:55.449" v="85"/>
          <ac:spMkLst>
            <pc:docMk/>
            <pc:sldMk cId="891120514" sldId="2147479596"/>
            <ac:spMk id="16" creationId="{7A9FEC2B-5C9A-F7D9-3823-B819EAAD9613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84"/>
          <ac:spMkLst>
            <pc:docMk/>
            <pc:sldMk cId="891120514" sldId="2147479596"/>
            <ac:spMk id="17" creationId="{C64B59D4-30AD-DB48-3B2B-2A6A93568C88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83"/>
          <ac:spMkLst>
            <pc:docMk/>
            <pc:sldMk cId="891120514" sldId="2147479596"/>
            <ac:spMk id="18" creationId="{A63440F7-CFD3-F746-9936-AC80927C5A56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82"/>
          <ac:spMkLst>
            <pc:docMk/>
            <pc:sldMk cId="891120514" sldId="2147479596"/>
            <ac:spMk id="20" creationId="{4D3B136D-6C77-A612-4DE9-5BA65BB6DA35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81"/>
          <ac:spMkLst>
            <pc:docMk/>
            <pc:sldMk cId="891120514" sldId="2147479596"/>
            <ac:spMk id="21" creationId="{989C9177-7E83-F584-0CC7-575FF7B8CAB8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80"/>
          <ac:spMkLst>
            <pc:docMk/>
            <pc:sldMk cId="891120514" sldId="2147479596"/>
            <ac:spMk id="22" creationId="{D3F9DEBE-E8E6-DF2D-77CB-E8BC03BB42FF}"/>
          </ac:spMkLst>
        </pc:spChg>
        <pc:spChg chg="add del">
          <ac:chgData name="Srivaths Swaminathan" userId="S::srivaths.swaminathan@hgcapital.com::fab820a8-d04c-4fb7-bc62-495e227921e9" providerId="AD" clId="Web-{71A1F94F-04B8-F7AE-8309-49FCE75F7295}" dt="2023-08-14T09:46:55.449" v="79"/>
          <ac:spMkLst>
            <pc:docMk/>
            <pc:sldMk cId="891120514" sldId="2147479596"/>
            <ac:spMk id="23" creationId="{64344103-5E10-8D37-8CEF-56AEB0BE8B47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09:47:14.012" v="89" actId="1076"/>
          <ac:spMkLst>
            <pc:docMk/>
            <pc:sldMk cId="891120514" sldId="2147479596"/>
            <ac:spMk id="24" creationId="{41FC746F-2C9F-682D-6E9A-C738527FB971}"/>
          </ac:spMkLst>
        </pc:spChg>
        <pc:spChg chg="add mod">
          <ac:chgData name="Srivaths Swaminathan" userId="S::srivaths.swaminathan@hgcapital.com::fab820a8-d04c-4fb7-bc62-495e227921e9" providerId="AD" clId="Web-{71A1F94F-04B8-F7AE-8309-49FCE75F7295}" dt="2023-08-14T09:47:56.935" v="105" actId="1076"/>
          <ac:spMkLst>
            <pc:docMk/>
            <pc:sldMk cId="891120514" sldId="2147479596"/>
            <ac:spMk id="112" creationId="{7D1416BE-AE68-4C02-9882-9AB63CDB03A6}"/>
          </ac:spMkLst>
        </pc:spChg>
        <pc:spChg chg="add mod">
          <ac:chgData name="Srivaths Swaminathan" userId="S::srivaths.swaminathan@hgcapital.com::fab820a8-d04c-4fb7-bc62-495e227921e9" providerId="AD" clId="Web-{71A1F94F-04B8-F7AE-8309-49FCE75F7295}" dt="2023-08-14T10:52:48.308" v="720" actId="20577"/>
          <ac:spMkLst>
            <pc:docMk/>
            <pc:sldMk cId="891120514" sldId="2147479596"/>
            <ac:spMk id="318" creationId="{2D3B98B1-3FC1-4746-FB57-6F242F9D8EF7}"/>
          </ac:spMkLst>
        </pc:spChg>
        <pc:graphicFrameChg chg="add del mod modGraphic">
          <ac:chgData name="Srivaths Swaminathan" userId="S::srivaths.swaminathan@hgcapital.com::fab820a8-d04c-4fb7-bc62-495e227921e9" providerId="AD" clId="Web-{71A1F94F-04B8-F7AE-8309-49FCE75F7295}" dt="2023-08-14T10:49:50.069" v="652" actId="20577"/>
          <ac:graphicFrameMkLst>
            <pc:docMk/>
            <pc:sldMk cId="891120514" sldId="2147479596"/>
            <ac:graphicFrameMk id="5" creationId="{5E89084F-A35B-6858-1B23-E3558C662082}"/>
          </ac:graphicFrameMkLst>
        </pc:graphicFrameChg>
      </pc:sldChg>
      <pc:sldChg chg="addSp modSp new">
        <pc:chgData name="Srivaths Swaminathan" userId="S::srivaths.swaminathan@hgcapital.com::fab820a8-d04c-4fb7-bc62-495e227921e9" providerId="AD" clId="Web-{71A1F94F-04B8-F7AE-8309-49FCE75F7295}" dt="2023-08-14T10:44:20.029" v="600" actId="20577"/>
        <pc:sldMkLst>
          <pc:docMk/>
          <pc:sldMk cId="30169280" sldId="2147479597"/>
        </pc:sldMkLst>
        <pc:spChg chg="mod">
          <ac:chgData name="Srivaths Swaminathan" userId="S::srivaths.swaminathan@hgcapital.com::fab820a8-d04c-4fb7-bc62-495e227921e9" providerId="AD" clId="Web-{71A1F94F-04B8-F7AE-8309-49FCE75F7295}" dt="2023-08-14T10:18:36.751" v="168" actId="20577"/>
          <ac:spMkLst>
            <pc:docMk/>
            <pc:sldMk cId="30169280" sldId="2147479597"/>
            <ac:spMk id="2" creationId="{EE3DB2B8-AA90-39FA-6830-12D67D51E7B3}"/>
          </ac:spMkLst>
        </pc:spChg>
        <pc:spChg chg="mod">
          <ac:chgData name="Srivaths Swaminathan" userId="S::srivaths.swaminathan@hgcapital.com::fab820a8-d04c-4fb7-bc62-495e227921e9" providerId="AD" clId="Web-{71A1F94F-04B8-F7AE-8309-49FCE75F7295}" dt="2023-08-14T10:44:20.029" v="600" actId="20577"/>
          <ac:spMkLst>
            <pc:docMk/>
            <pc:sldMk cId="30169280" sldId="2147479597"/>
            <ac:spMk id="4" creationId="{5A14AA1A-EFBF-C2D8-C3F0-8C48878C8784}"/>
          </ac:spMkLst>
        </pc:spChg>
        <pc:spChg chg="add mod">
          <ac:chgData name="Srivaths Swaminathan" userId="S::srivaths.swaminathan@hgcapital.com::fab820a8-d04c-4fb7-bc62-495e227921e9" providerId="AD" clId="Web-{71A1F94F-04B8-F7AE-8309-49FCE75F7295}" dt="2023-08-14T10:42:45.338" v="553" actId="14100"/>
          <ac:spMkLst>
            <pc:docMk/>
            <pc:sldMk cId="30169280" sldId="2147479597"/>
            <ac:spMk id="6" creationId="{627BE056-3E91-34C1-872D-B75391850370}"/>
          </ac:spMkLst>
        </pc:spChg>
      </pc:sldChg>
    </pc:docChg>
  </pc:docChgLst>
  <pc:docChgLst>
    <pc:chgData name="Srivaths Swaminathan" userId="S::srivaths.swaminathan@hgcapital.com::fab820a8-d04c-4fb7-bc62-495e227921e9" providerId="AD" clId="Web-{7FDD5011-FB1A-E971-3261-7273B2D5E549}"/>
    <pc:docChg chg="addSld delSld modSld sldOrd">
      <pc:chgData name="Srivaths Swaminathan" userId="S::srivaths.swaminathan@hgcapital.com::fab820a8-d04c-4fb7-bc62-495e227921e9" providerId="AD" clId="Web-{7FDD5011-FB1A-E971-3261-7273B2D5E549}" dt="2023-08-14T15:39:59.304" v="2409" actId="20577"/>
      <pc:docMkLst>
        <pc:docMk/>
      </pc:docMkLst>
      <pc:sldChg chg="modSp">
        <pc:chgData name="Srivaths Swaminathan" userId="S::srivaths.swaminathan@hgcapital.com::fab820a8-d04c-4fb7-bc62-495e227921e9" providerId="AD" clId="Web-{7FDD5011-FB1A-E971-3261-7273B2D5E549}" dt="2023-08-14T12:50:06.738" v="2111" actId="14100"/>
        <pc:sldMkLst>
          <pc:docMk/>
          <pc:sldMk cId="3361998970" sldId="258"/>
        </pc:sldMkLst>
        <pc:spChg chg="mod">
          <ac:chgData name="Srivaths Swaminathan" userId="S::srivaths.swaminathan@hgcapital.com::fab820a8-d04c-4fb7-bc62-495e227921e9" providerId="AD" clId="Web-{7FDD5011-FB1A-E971-3261-7273B2D5E549}" dt="2023-08-14T12:50:06.738" v="2111" actId="14100"/>
          <ac:spMkLst>
            <pc:docMk/>
            <pc:sldMk cId="3361998970" sldId="258"/>
            <ac:spMk id="4" creationId="{532BA280-18FB-4486-AC4D-7AE49367EEBF}"/>
          </ac:spMkLst>
        </pc:spChg>
      </pc:sldChg>
      <pc:sldChg chg="addSp delSp modSp">
        <pc:chgData name="Srivaths Swaminathan" userId="S::srivaths.swaminathan@hgcapital.com::fab820a8-d04c-4fb7-bc62-495e227921e9" providerId="AD" clId="Web-{7FDD5011-FB1A-E971-3261-7273B2D5E549}" dt="2023-08-14T12:23:19.559" v="938"/>
        <pc:sldMkLst>
          <pc:docMk/>
          <pc:sldMk cId="198343661" sldId="2147479573"/>
        </pc:sldMkLst>
        <pc:spChg chg="mod">
          <ac:chgData name="Srivaths Swaminathan" userId="S::srivaths.swaminathan@hgcapital.com::fab820a8-d04c-4fb7-bc62-495e227921e9" providerId="AD" clId="Web-{7FDD5011-FB1A-E971-3261-7273B2D5E549}" dt="2023-08-14T11:23:15.122" v="134" actId="20577"/>
          <ac:spMkLst>
            <pc:docMk/>
            <pc:sldMk cId="198343661" sldId="2147479573"/>
            <ac:spMk id="2" creationId="{76BC059F-67A1-3DC0-4741-39C9103B8523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1:27:06.339" v="490" actId="14100"/>
          <ac:spMkLst>
            <pc:docMk/>
            <pc:sldMk cId="198343661" sldId="2147479573"/>
            <ac:spMk id="11" creationId="{9FAC27EA-B122-C1A5-D1D5-0668B5B36246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1:24:57.972" v="206"/>
          <ac:spMkLst>
            <pc:docMk/>
            <pc:sldMk cId="198343661" sldId="2147479573"/>
            <ac:spMk id="13" creationId="{9DE3F7CE-EB34-15EA-3684-AAED8A4CEC51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1:25:13.583" v="220" actId="14100"/>
          <ac:spMkLst>
            <pc:docMk/>
            <pc:sldMk cId="198343661" sldId="2147479573"/>
            <ac:spMk id="16" creationId="{DD0A5EE7-E394-D9E0-3B10-ED598307BEE4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1:28:08.062" v="534" actId="14100"/>
          <ac:spMkLst>
            <pc:docMk/>
            <pc:sldMk cId="198343661" sldId="2147479573"/>
            <ac:spMk id="18" creationId="{53EF921B-4F10-5015-9015-07A3161FA8C1}"/>
          </ac:spMkLst>
        </pc:spChg>
        <pc:grpChg chg="del">
          <ac:chgData name="Srivaths Swaminathan" userId="S::srivaths.swaminathan@hgcapital.com::fab820a8-d04c-4fb7-bc62-495e227921e9" providerId="AD" clId="Web-{7FDD5011-FB1A-E971-3261-7273B2D5E549}" dt="2023-08-14T11:24:57.972" v="205"/>
          <ac:grpSpMkLst>
            <pc:docMk/>
            <pc:sldMk cId="198343661" sldId="2147479573"/>
            <ac:grpSpMk id="21" creationId="{39B9B42A-7980-3163-4BB2-2AD0950D57C1}"/>
          </ac:grpSpMkLst>
        </pc:grpChg>
        <pc:graphicFrameChg chg="mod modGraphic">
          <ac:chgData name="Srivaths Swaminathan" userId="S::srivaths.swaminathan@hgcapital.com::fab820a8-d04c-4fb7-bc62-495e227921e9" providerId="AD" clId="Web-{7FDD5011-FB1A-E971-3261-7273B2D5E549}" dt="2023-08-14T12:23:19.559" v="938"/>
          <ac:graphicFrameMkLst>
            <pc:docMk/>
            <pc:sldMk cId="198343661" sldId="2147479573"/>
            <ac:graphicFrameMk id="5" creationId="{8F14D783-BEF1-4E65-A4E4-FA8558C43E63}"/>
          </ac:graphicFrameMkLst>
        </pc:graphicFrameChg>
        <pc:graphicFrameChg chg="del">
          <ac:chgData name="Srivaths Swaminathan" userId="S::srivaths.swaminathan@hgcapital.com::fab820a8-d04c-4fb7-bc62-495e227921e9" providerId="AD" clId="Web-{7FDD5011-FB1A-E971-3261-7273B2D5E549}" dt="2023-08-14T11:25:00.238" v="207"/>
          <ac:graphicFrameMkLst>
            <pc:docMk/>
            <pc:sldMk cId="198343661" sldId="2147479573"/>
            <ac:graphicFrameMk id="9" creationId="{FF99F111-A29A-F337-E0FD-01A82BFFD61C}"/>
          </ac:graphicFrameMkLst>
        </pc:graphicFrameChg>
        <pc:picChg chg="del">
          <ac:chgData name="Srivaths Swaminathan" userId="S::srivaths.swaminathan@hgcapital.com::fab820a8-d04c-4fb7-bc62-495e227921e9" providerId="AD" clId="Web-{7FDD5011-FB1A-E971-3261-7273B2D5E549}" dt="2023-08-14T11:25:01.848" v="213"/>
          <ac:picMkLst>
            <pc:docMk/>
            <pc:sldMk cId="198343661" sldId="2147479573"/>
            <ac:picMk id="4" creationId="{01F0D9CB-20FB-7D1D-0E9C-1F141634B207}"/>
          </ac:picMkLst>
        </pc:picChg>
        <pc:picChg chg="del">
          <ac:chgData name="Srivaths Swaminathan" userId="S::srivaths.swaminathan@hgcapital.com::fab820a8-d04c-4fb7-bc62-495e227921e9" providerId="AD" clId="Web-{7FDD5011-FB1A-E971-3261-7273B2D5E549}" dt="2023-08-14T11:25:01.848" v="212"/>
          <ac:picMkLst>
            <pc:docMk/>
            <pc:sldMk cId="198343661" sldId="2147479573"/>
            <ac:picMk id="6" creationId="{4CFBD29E-8CCA-9202-0A8B-E3A2B114A0A6}"/>
          </ac:picMkLst>
        </pc:picChg>
        <pc:picChg chg="del">
          <ac:chgData name="Srivaths Swaminathan" userId="S::srivaths.swaminathan@hgcapital.com::fab820a8-d04c-4fb7-bc62-495e227921e9" providerId="AD" clId="Web-{7FDD5011-FB1A-E971-3261-7273B2D5E549}" dt="2023-08-14T11:25:01.848" v="211"/>
          <ac:picMkLst>
            <pc:docMk/>
            <pc:sldMk cId="198343661" sldId="2147479573"/>
            <ac:picMk id="7" creationId="{584AD9EC-A413-278C-08B0-C4C37A4E8B98}"/>
          </ac:picMkLst>
        </pc:picChg>
        <pc:picChg chg="del">
          <ac:chgData name="Srivaths Swaminathan" userId="S::srivaths.swaminathan@hgcapital.com::fab820a8-d04c-4fb7-bc62-495e227921e9" providerId="AD" clId="Web-{7FDD5011-FB1A-E971-3261-7273B2D5E549}" dt="2023-08-14T11:25:01.848" v="210"/>
          <ac:picMkLst>
            <pc:docMk/>
            <pc:sldMk cId="198343661" sldId="2147479573"/>
            <ac:picMk id="8" creationId="{56B913D2-6A27-8F27-8322-6BDE7FD62ED7}"/>
          </ac:picMkLst>
        </pc:picChg>
        <pc:picChg chg="del">
          <ac:chgData name="Srivaths Swaminathan" userId="S::srivaths.swaminathan@hgcapital.com::fab820a8-d04c-4fb7-bc62-495e227921e9" providerId="AD" clId="Web-{7FDD5011-FB1A-E971-3261-7273B2D5E549}" dt="2023-08-14T11:25:01.848" v="209"/>
          <ac:picMkLst>
            <pc:docMk/>
            <pc:sldMk cId="198343661" sldId="2147479573"/>
            <ac:picMk id="12" creationId="{9BCD9063-6D83-44D9-DFBA-D56B7637629D}"/>
          </ac:picMkLst>
        </pc:picChg>
        <pc:picChg chg="mod">
          <ac:chgData name="Srivaths Swaminathan" userId="S::srivaths.swaminathan@hgcapital.com::fab820a8-d04c-4fb7-bc62-495e227921e9" providerId="AD" clId="Web-{7FDD5011-FB1A-E971-3261-7273B2D5E549}" dt="2023-08-14T11:25:20.677" v="221" actId="1076"/>
          <ac:picMkLst>
            <pc:docMk/>
            <pc:sldMk cId="198343661" sldId="2147479573"/>
            <ac:picMk id="15" creationId="{E74A2FD4-6A55-9FA8-9226-8C357BE172E1}"/>
          </ac:picMkLst>
        </pc:picChg>
        <pc:picChg chg="del">
          <ac:chgData name="Srivaths Swaminathan" userId="S::srivaths.swaminathan@hgcapital.com::fab820a8-d04c-4fb7-bc62-495e227921e9" providerId="AD" clId="Web-{7FDD5011-FB1A-E971-3261-7273B2D5E549}" dt="2023-08-14T11:25:01.848" v="208"/>
          <ac:picMkLst>
            <pc:docMk/>
            <pc:sldMk cId="198343661" sldId="2147479573"/>
            <ac:picMk id="17" creationId="{E5E3D8E7-1C30-6B60-4A87-8021D3D6B567}"/>
          </ac:picMkLst>
        </pc:picChg>
      </pc:sldChg>
      <pc:sldChg chg="del">
        <pc:chgData name="Srivaths Swaminathan" userId="S::srivaths.swaminathan@hgcapital.com::fab820a8-d04c-4fb7-bc62-495e227921e9" providerId="AD" clId="Web-{7FDD5011-FB1A-E971-3261-7273B2D5E549}" dt="2023-08-14T12:36:59.922" v="1827"/>
        <pc:sldMkLst>
          <pc:docMk/>
          <pc:sldMk cId="1228449258" sldId="2147479574"/>
        </pc:sldMkLst>
      </pc:sldChg>
      <pc:sldChg chg="del">
        <pc:chgData name="Srivaths Swaminathan" userId="S::srivaths.swaminathan@hgcapital.com::fab820a8-d04c-4fb7-bc62-495e227921e9" providerId="AD" clId="Web-{7FDD5011-FB1A-E971-3261-7273B2D5E549}" dt="2023-08-14T12:37:03.391" v="1828"/>
        <pc:sldMkLst>
          <pc:docMk/>
          <pc:sldMk cId="1666998093" sldId="2147479581"/>
        </pc:sldMkLst>
      </pc:sldChg>
      <pc:sldChg chg="addSp delSp modSp">
        <pc:chgData name="Srivaths Swaminathan" userId="S::srivaths.swaminathan@hgcapital.com::fab820a8-d04c-4fb7-bc62-495e227921e9" providerId="AD" clId="Web-{7FDD5011-FB1A-E971-3261-7273B2D5E549}" dt="2023-08-14T12:34:05.661" v="1651"/>
        <pc:sldMkLst>
          <pc:docMk/>
          <pc:sldMk cId="2745341794" sldId="2147479591"/>
        </pc:sldMkLst>
        <pc:spChg chg="mod">
          <ac:chgData name="Srivaths Swaminathan" userId="S::srivaths.swaminathan@hgcapital.com::fab820a8-d04c-4fb7-bc62-495e227921e9" providerId="AD" clId="Web-{7FDD5011-FB1A-E971-3261-7273B2D5E549}" dt="2023-08-14T12:32:42.500" v="1578" actId="20577"/>
          <ac:spMkLst>
            <pc:docMk/>
            <pc:sldMk cId="2745341794" sldId="2147479591"/>
            <ac:spMk id="2" creationId="{E095F009-F48C-2687-23C2-E2266D3C074D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1"/>
          <ac:spMkLst>
            <pc:docMk/>
            <pc:sldMk cId="2745341794" sldId="2147479591"/>
            <ac:spMk id="3" creationId="{E18DABCE-3033-C2A6-3302-18A4B17564EB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0"/>
          <ac:spMkLst>
            <pc:docMk/>
            <pc:sldMk cId="2745341794" sldId="2147479591"/>
            <ac:spMk id="4" creationId="{81E4B7A9-6D76-A8D9-2633-5840C693A21B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6"/>
          <ac:spMkLst>
            <pc:docMk/>
            <pc:sldMk cId="2745341794" sldId="2147479591"/>
            <ac:spMk id="5" creationId="{A923C077-FC6D-2545-C88D-6BD67D4604C9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5"/>
          <ac:spMkLst>
            <pc:docMk/>
            <pc:sldMk cId="2745341794" sldId="2147479591"/>
            <ac:spMk id="6" creationId="{90E8E1DD-50AD-796E-19BE-507F0C37D4C3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39"/>
          <ac:spMkLst>
            <pc:docMk/>
            <pc:sldMk cId="2745341794" sldId="2147479591"/>
            <ac:spMk id="7" creationId="{33A890BE-5248-4360-2874-7A9DE018ED49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4"/>
          <ac:spMkLst>
            <pc:docMk/>
            <pc:sldMk cId="2745341794" sldId="2147479591"/>
            <ac:spMk id="8" creationId="{10C783CD-1AE6-E502-F127-BBB4D112094F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3"/>
          <ac:spMkLst>
            <pc:docMk/>
            <pc:sldMk cId="2745341794" sldId="2147479591"/>
            <ac:spMk id="9" creationId="{FBAF71B4-DE30-ADE9-990E-C3D16D2C2DC2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3.474" v="948"/>
          <ac:spMkLst>
            <pc:docMk/>
            <pc:sldMk cId="2745341794" sldId="2147479591"/>
            <ac:spMk id="10" creationId="{B3523F0B-2E2C-CE30-0D05-A37973AC1320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2"/>
          <ac:spMkLst>
            <pc:docMk/>
            <pc:sldMk cId="2745341794" sldId="2147479591"/>
            <ac:spMk id="14" creationId="{16726F7C-40B3-1C6D-B569-BBAEBD9071C3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25:30.349" v="947"/>
          <ac:spMkLst>
            <pc:docMk/>
            <pc:sldMk cId="2745341794" sldId="2147479591"/>
            <ac:spMk id="15" creationId="{87FAC5A7-37DD-0FA5-6F08-0EDEEE0FAAEE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0:24.601" v="1424"/>
          <ac:spMkLst>
            <pc:docMk/>
            <pc:sldMk cId="2745341794" sldId="2147479591"/>
            <ac:spMk id="16" creationId="{09C2B3A0-74D5-E358-5334-C63CA5BDFF1D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06:24.467" v="840" actId="20577"/>
          <ac:spMkLst>
            <pc:docMk/>
            <pc:sldMk cId="2745341794" sldId="2147479591"/>
            <ac:spMk id="18" creationId="{0AA1ADB4-919C-888E-35AD-9C0C88585BE1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05.599" v="1648"/>
          <ac:spMkLst>
            <pc:docMk/>
            <pc:sldMk cId="2745341794" sldId="2147479591"/>
            <ac:spMk id="19" creationId="{38046FBE-FDC6-A2BA-4AD6-30042D44F0B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05.614" v="1649"/>
          <ac:spMkLst>
            <pc:docMk/>
            <pc:sldMk cId="2745341794" sldId="2147479591"/>
            <ac:spMk id="21" creationId="{540E6240-D964-5A48-A1F2-BA5975EE8E51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05.646" v="1650"/>
          <ac:spMkLst>
            <pc:docMk/>
            <pc:sldMk cId="2745341794" sldId="2147479591"/>
            <ac:spMk id="23" creationId="{45907CDD-E434-EC95-B39C-0A45DD47BE35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05.661" v="1651"/>
          <ac:spMkLst>
            <pc:docMk/>
            <pc:sldMk cId="2745341794" sldId="2147479591"/>
            <ac:spMk id="25" creationId="{E4D72C7E-E7E2-ED88-EE3A-80C017DA31DE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05.583" v="1647"/>
          <ac:spMkLst>
            <pc:docMk/>
            <pc:sldMk cId="2745341794" sldId="2147479591"/>
            <ac:spMk id="26" creationId="{2CE74351-0857-36AD-4D6A-175EE0F97A5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3:41.472" v="1642" actId="20577"/>
          <ac:spMkLst>
            <pc:docMk/>
            <pc:sldMk cId="2745341794" sldId="2147479591"/>
            <ac:spMk id="28" creationId="{C983A64E-2125-8B60-EEF8-BC8A02CEB899}"/>
          </ac:spMkLst>
        </pc:spChg>
        <pc:graphicFrameChg chg="add mod modGraphic">
          <ac:chgData name="Srivaths Swaminathan" userId="S::srivaths.swaminathan@hgcapital.com::fab820a8-d04c-4fb7-bc62-495e227921e9" providerId="AD" clId="Web-{7FDD5011-FB1A-E971-3261-7273B2D5E549}" dt="2023-08-14T12:31:28.339" v="1566"/>
          <ac:graphicFrameMkLst>
            <pc:docMk/>
            <pc:sldMk cId="2745341794" sldId="2147479591"/>
            <ac:graphicFrameMk id="11" creationId="{46156316-6DC1-7C0A-6911-E1364C4FDBBD}"/>
          </ac:graphicFrameMkLst>
        </pc:graphicFrameChg>
        <pc:picChg chg="del">
          <ac:chgData name="Srivaths Swaminathan" userId="S::srivaths.swaminathan@hgcapital.com::fab820a8-d04c-4fb7-bc62-495e227921e9" providerId="AD" clId="Web-{7FDD5011-FB1A-E971-3261-7273B2D5E549}" dt="2023-08-14T12:30:24.601" v="1423"/>
          <ac:picMkLst>
            <pc:docMk/>
            <pc:sldMk cId="2745341794" sldId="2147479591"/>
            <ac:picMk id="17" creationId="{63E00053-69F7-C9F8-700D-650CE700995B}"/>
          </ac:picMkLst>
        </pc:picChg>
      </pc:sldChg>
      <pc:sldChg chg="addSp delSp modSp">
        <pc:chgData name="Srivaths Swaminathan" userId="S::srivaths.swaminathan@hgcapital.com::fab820a8-d04c-4fb7-bc62-495e227921e9" providerId="AD" clId="Web-{7FDD5011-FB1A-E971-3261-7273B2D5E549}" dt="2023-08-14T12:54:23.925" v="2127"/>
        <pc:sldMkLst>
          <pc:docMk/>
          <pc:sldMk cId="3666502735" sldId="2147479595"/>
        </pc:sldMkLst>
        <pc:spChg chg="mod">
          <ac:chgData name="Srivaths Swaminathan" userId="S::srivaths.swaminathan@hgcapital.com::fab820a8-d04c-4fb7-bc62-495e227921e9" providerId="AD" clId="Web-{7FDD5011-FB1A-E971-3261-7273B2D5E549}" dt="2023-08-14T12:46:32.488" v="2070" actId="20577"/>
          <ac:spMkLst>
            <pc:docMk/>
            <pc:sldMk cId="3666502735" sldId="2147479595"/>
            <ac:spMk id="2" creationId="{E095F009-F48C-2687-23C2-E2266D3C074D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1:29.595" v="1935" actId="1076"/>
          <ac:spMkLst>
            <pc:docMk/>
            <pc:sldMk cId="3666502735" sldId="2147479595"/>
            <ac:spMk id="10" creationId="{C41DB2AE-CBFE-F659-8893-8256E66EC87B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4:23.925" v="2127"/>
          <ac:spMkLst>
            <pc:docMk/>
            <pc:sldMk cId="3666502735" sldId="2147479595"/>
            <ac:spMk id="16" creationId="{A7FE2ABC-DFD8-2AEF-6515-703D92A31082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4:23.925" v="2126"/>
          <ac:spMkLst>
            <pc:docMk/>
            <pc:sldMk cId="3666502735" sldId="2147479595"/>
            <ac:spMk id="17" creationId="{EE5E023A-2AC9-1D52-C97E-45AD8FB956E3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4:23.925" v="2125"/>
          <ac:spMkLst>
            <pc:docMk/>
            <pc:sldMk cId="3666502735" sldId="2147479595"/>
            <ac:spMk id="18" creationId="{939F3889-9467-9181-CADC-3828DA38EE6C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40:32.935" v="1920" actId="20577"/>
          <ac:spMkLst>
            <pc:docMk/>
            <pc:sldMk cId="3666502735" sldId="2147479595"/>
            <ac:spMk id="19" creationId="{536E15A8-17F3-8F27-99D4-9033EBEB84D7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4:23.925" v="2124"/>
          <ac:spMkLst>
            <pc:docMk/>
            <pc:sldMk cId="3666502735" sldId="2147479595"/>
            <ac:spMk id="20" creationId="{D2BCC4DD-6E33-3A18-4040-33F6D297C2E6}"/>
          </ac:spMkLst>
        </pc:spChg>
      </pc:sldChg>
      <pc:sldChg chg="addSp modSp">
        <pc:chgData name="Srivaths Swaminathan" userId="S::srivaths.swaminathan@hgcapital.com::fab820a8-d04c-4fb7-bc62-495e227921e9" providerId="AD" clId="Web-{7FDD5011-FB1A-E971-3261-7273B2D5E549}" dt="2023-08-14T12:46:43.692" v="2086" actId="20577"/>
        <pc:sldMkLst>
          <pc:docMk/>
          <pc:sldMk cId="891120514" sldId="2147479596"/>
        </pc:sldMkLst>
        <pc:spChg chg="mod">
          <ac:chgData name="Srivaths Swaminathan" userId="S::srivaths.swaminathan@hgcapital.com::fab820a8-d04c-4fb7-bc62-495e227921e9" providerId="AD" clId="Web-{7FDD5011-FB1A-E971-3261-7273B2D5E549}" dt="2023-08-14T12:46:43.692" v="2086" actId="20577"/>
          <ac:spMkLst>
            <pc:docMk/>
            <pc:sldMk cId="891120514" sldId="2147479596"/>
            <ac:spMk id="2" creationId="{E095F009-F48C-2687-23C2-E2266D3C074D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45:07.186" v="2043" actId="14100"/>
          <ac:spMkLst>
            <pc:docMk/>
            <pc:sldMk cId="891120514" sldId="2147479596"/>
            <ac:spMk id="3" creationId="{00A76FAE-87B6-41A1-C519-376C3C28B35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5:43.845" v="2049" actId="14100"/>
          <ac:spMkLst>
            <pc:docMk/>
            <pc:sldMk cId="891120514" sldId="2147479596"/>
            <ac:spMk id="13" creationId="{A1E6F560-13F1-CE8F-E6DB-5336830CFEAD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8:02.926" v="1849" actId="14100"/>
          <ac:spMkLst>
            <pc:docMk/>
            <pc:sldMk cId="891120514" sldId="2147479596"/>
            <ac:spMk id="15" creationId="{0D6576D5-9A24-118B-8AB7-BD1116A07B6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8:15.567" v="1850" actId="1076"/>
          <ac:spMkLst>
            <pc:docMk/>
            <pc:sldMk cId="891120514" sldId="2147479596"/>
            <ac:spMk id="17" creationId="{65565E21-0498-10B0-C29D-21DE7A3AB4EC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8:19.864" v="1851" actId="1076"/>
          <ac:spMkLst>
            <pc:docMk/>
            <pc:sldMk cId="891120514" sldId="2147479596"/>
            <ac:spMk id="19" creationId="{B7C47FF7-F743-7495-3406-E878F87B6FCB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45:55.424" v="2054" actId="1076"/>
          <ac:spMkLst>
            <pc:docMk/>
            <pc:sldMk cId="891120514" sldId="2147479596"/>
            <ac:spMk id="24" creationId="{41FC746F-2C9F-682D-6E9A-C738527FB971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5:43.860" v="2050" actId="14100"/>
          <ac:spMkLst>
            <pc:docMk/>
            <pc:sldMk cId="891120514" sldId="2147479596"/>
            <ac:spMk id="25" creationId="{EE10B747-48C3-49F6-32C3-A331C7B9C50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5:43.892" v="2051" actId="14100"/>
          <ac:spMkLst>
            <pc:docMk/>
            <pc:sldMk cId="891120514" sldId="2147479596"/>
            <ac:spMk id="26" creationId="{0E9C5A1F-BACC-2965-8175-B53211FC908A}"/>
          </ac:spMkLst>
        </pc:spChg>
        <pc:spChg chg="add mod ord">
          <ac:chgData name="Srivaths Swaminathan" userId="S::srivaths.swaminathan@hgcapital.com::fab820a8-d04c-4fb7-bc62-495e227921e9" providerId="AD" clId="Web-{7FDD5011-FB1A-E971-3261-7273B2D5E549}" dt="2023-08-14T12:45:30.641" v="2046" actId="14100"/>
          <ac:spMkLst>
            <pc:docMk/>
            <pc:sldMk cId="891120514" sldId="2147479596"/>
            <ac:spMk id="27" creationId="{11FC74A2-B3E5-9202-8681-34DDBDD09A70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8:28.708" v="1854" actId="20577"/>
          <ac:spMkLst>
            <pc:docMk/>
            <pc:sldMk cId="891120514" sldId="2147479596"/>
            <ac:spMk id="29" creationId="{806B5370-7201-6F92-49A5-866A61744DA1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4:23.699" v="2013" actId="1076"/>
          <ac:spMkLst>
            <pc:docMk/>
            <pc:sldMk cId="891120514" sldId="2147479596"/>
            <ac:spMk id="31" creationId="{92199061-8C81-22AA-254C-199ED8AA387B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44:50.388" v="2040" actId="20577"/>
          <ac:spMkLst>
            <pc:docMk/>
            <pc:sldMk cId="891120514" sldId="2147479596"/>
            <ac:spMk id="112" creationId="{7D1416BE-AE68-4C02-9882-9AB63CDB03A6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2:45:43.813" v="2048" actId="14100"/>
          <ac:spMkLst>
            <pc:docMk/>
            <pc:sldMk cId="891120514" sldId="2147479596"/>
            <ac:spMk id="318" creationId="{2D3B98B1-3FC1-4746-FB57-6F242F9D8EF7}"/>
          </ac:spMkLst>
        </pc:spChg>
        <pc:graphicFrameChg chg="modGraphic">
          <ac:chgData name="Srivaths Swaminathan" userId="S::srivaths.swaminathan@hgcapital.com::fab820a8-d04c-4fb7-bc62-495e227921e9" providerId="AD" clId="Web-{7FDD5011-FB1A-E971-3261-7273B2D5E549}" dt="2023-08-14T10:56:58.789" v="5"/>
          <ac:graphicFrameMkLst>
            <pc:docMk/>
            <pc:sldMk cId="891120514" sldId="2147479596"/>
            <ac:graphicFrameMk id="5" creationId="{5E89084F-A35B-6858-1B23-E3558C662082}"/>
          </ac:graphicFrameMkLst>
        </pc:graphicFrameChg>
        <pc:picChg chg="mod">
          <ac:chgData name="Srivaths Swaminathan" userId="S::srivaths.swaminathan@hgcapital.com::fab820a8-d04c-4fb7-bc62-495e227921e9" providerId="AD" clId="Web-{7FDD5011-FB1A-E971-3261-7273B2D5E549}" dt="2023-08-14T12:45:11.562" v="2044" actId="1076"/>
          <ac:picMkLst>
            <pc:docMk/>
            <pc:sldMk cId="891120514" sldId="2147479596"/>
            <ac:picMk id="4" creationId="{1ACA34DB-7019-ECA6-886F-88C8406C88B2}"/>
          </ac:picMkLst>
        </pc:picChg>
      </pc:sldChg>
      <pc:sldChg chg="modSp">
        <pc:chgData name="Srivaths Swaminathan" userId="S::srivaths.swaminathan@hgcapital.com::fab820a8-d04c-4fb7-bc62-495e227921e9" providerId="AD" clId="Web-{7FDD5011-FB1A-E971-3261-7273B2D5E549}" dt="2023-08-14T12:48:18.651" v="2105" actId="1076"/>
        <pc:sldMkLst>
          <pc:docMk/>
          <pc:sldMk cId="30169280" sldId="2147479597"/>
        </pc:sldMkLst>
        <pc:spChg chg="mod">
          <ac:chgData name="Srivaths Swaminathan" userId="S::srivaths.swaminathan@hgcapital.com::fab820a8-d04c-4fb7-bc62-495e227921e9" providerId="AD" clId="Web-{7FDD5011-FB1A-E971-3261-7273B2D5E549}" dt="2023-08-14T12:48:18.651" v="2105" actId="1076"/>
          <ac:spMkLst>
            <pc:docMk/>
            <pc:sldMk cId="30169280" sldId="2147479597"/>
            <ac:spMk id="6" creationId="{627BE056-3E91-34C1-872D-B75391850370}"/>
          </ac:spMkLst>
        </pc:spChg>
      </pc:sldChg>
      <pc:sldChg chg="addSp delSp modSp new ord">
        <pc:chgData name="Srivaths Swaminathan" userId="S::srivaths.swaminathan@hgcapital.com::fab820a8-d04c-4fb7-bc62-495e227921e9" providerId="AD" clId="Web-{7FDD5011-FB1A-E971-3261-7273B2D5E549}" dt="2023-08-14T12:22:06.258" v="886" actId="20577"/>
        <pc:sldMkLst>
          <pc:docMk/>
          <pc:sldMk cId="3197476374" sldId="2147479598"/>
        </pc:sldMkLst>
        <pc:spChg chg="del">
          <ac:chgData name="Srivaths Swaminathan" userId="S::srivaths.swaminathan@hgcapital.com::fab820a8-d04c-4fb7-bc62-495e227921e9" providerId="AD" clId="Web-{7FDD5011-FB1A-E971-3261-7273B2D5E549}" dt="2023-08-14T11:28:41.673" v="559"/>
          <ac:spMkLst>
            <pc:docMk/>
            <pc:sldMk cId="3197476374" sldId="2147479598"/>
            <ac:spMk id="2" creationId="{FBBE4E5B-E8CB-8D41-C0AB-95AFCC10D738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1:28:41.673" v="558"/>
          <ac:spMkLst>
            <pc:docMk/>
            <pc:sldMk cId="3197476374" sldId="2147479598"/>
            <ac:spMk id="4" creationId="{8DF203B6-920C-5916-95AB-358EC4D00C42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1:58:22.703" v="695" actId="20577"/>
          <ac:spMkLst>
            <pc:docMk/>
            <pc:sldMk cId="3197476374" sldId="2147479598"/>
            <ac:spMk id="6" creationId="{8EAF3DD4-7C88-3984-D7AB-C69DFA515374}"/>
          </ac:spMkLst>
        </pc:spChg>
        <pc:spChg chg="add">
          <ac:chgData name="Srivaths Swaminathan" userId="S::srivaths.swaminathan@hgcapital.com::fab820a8-d04c-4fb7-bc62-495e227921e9" providerId="AD" clId="Web-{7FDD5011-FB1A-E971-3261-7273B2D5E549}" dt="2023-08-14T11:28:42.736" v="561"/>
          <ac:spMkLst>
            <pc:docMk/>
            <pc:sldMk cId="3197476374" sldId="2147479598"/>
            <ac:spMk id="8" creationId="{CCA2972E-DB6B-1D85-D03B-DAF52BF4D396}"/>
          </ac:spMkLst>
        </pc:spChg>
        <pc:spChg chg="add ord">
          <ac:chgData name="Srivaths Swaminathan" userId="S::srivaths.swaminathan@hgcapital.com::fab820a8-d04c-4fb7-bc62-495e227921e9" providerId="AD" clId="Web-{7FDD5011-FB1A-E971-3261-7273B2D5E549}" dt="2023-08-14T11:57:43.732" v="684"/>
          <ac:spMkLst>
            <pc:docMk/>
            <pc:sldMk cId="3197476374" sldId="2147479598"/>
            <ac:spMk id="854" creationId="{F4BC2F09-4A14-5361-19ED-6E74E0AF73E9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1:57:58.170" v="690" actId="20577"/>
          <ac:spMkLst>
            <pc:docMk/>
            <pc:sldMk cId="3197476374" sldId="2147479598"/>
            <ac:spMk id="856" creationId="{05923191-3393-151B-9EC7-B73B6C0E4434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1:58:08.702" v="693" actId="20577"/>
          <ac:spMkLst>
            <pc:docMk/>
            <pc:sldMk cId="3197476374" sldId="2147479598"/>
            <ac:spMk id="858" creationId="{74107276-042F-05A2-8C8A-2BC8F74ED545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1:59:21.378" v="720" actId="1076"/>
          <ac:spMkLst>
            <pc:docMk/>
            <pc:sldMk cId="3197476374" sldId="2147479598"/>
            <ac:spMk id="863" creationId="{D19C46C8-9AFA-6112-32DC-B0988C551EDE}"/>
          </ac:spMkLst>
        </pc:spChg>
        <pc:spChg chg="add">
          <ac:chgData name="Srivaths Swaminathan" userId="S::srivaths.swaminathan@hgcapital.com::fab820a8-d04c-4fb7-bc62-495e227921e9" providerId="AD" clId="Web-{7FDD5011-FB1A-E971-3261-7273B2D5E549}" dt="2023-08-14T12:07:12.063" v="868"/>
          <ac:spMkLst>
            <pc:docMk/>
            <pc:sldMk cId="3197476374" sldId="2147479598"/>
            <ac:spMk id="865" creationId="{A67CFAD3-B691-5B17-A29E-40A94B88679B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22:06.258" v="886" actId="20577"/>
          <ac:spMkLst>
            <pc:docMk/>
            <pc:sldMk cId="3197476374" sldId="2147479598"/>
            <ac:spMk id="869" creationId="{0139F1B9-CDD8-126C-21AA-713D3B6243AB}"/>
          </ac:spMkLst>
        </pc:spChg>
        <pc:graphicFrameChg chg="add del mod modGraphic">
          <ac:chgData name="Srivaths Swaminathan" userId="S::srivaths.swaminathan@hgcapital.com::fab820a8-d04c-4fb7-bc62-495e227921e9" providerId="AD" clId="Web-{7FDD5011-FB1A-E971-3261-7273B2D5E549}" dt="2023-08-14T11:42:18.973" v="579"/>
          <ac:graphicFrameMkLst>
            <pc:docMk/>
            <pc:sldMk cId="3197476374" sldId="2147479598"/>
            <ac:graphicFrameMk id="9" creationId="{CC1D9183-44BA-5EE5-EB1A-CCF41B171B4F}"/>
          </ac:graphicFrameMkLst>
        </pc:graphicFrameChg>
        <pc:graphicFrameChg chg="add del mod modGraphic">
          <ac:chgData name="Srivaths Swaminathan" userId="S::srivaths.swaminathan@hgcapital.com::fab820a8-d04c-4fb7-bc62-495e227921e9" providerId="AD" clId="Web-{7FDD5011-FB1A-E971-3261-7273B2D5E549}" dt="2023-08-14T11:48:40.387" v="598" actId="1076"/>
          <ac:graphicFrameMkLst>
            <pc:docMk/>
            <pc:sldMk cId="3197476374" sldId="2147479598"/>
            <ac:graphicFrameMk id="70" creationId="{C9EC78F4-21CC-9752-6484-4E700D8722DA}"/>
          </ac:graphicFrameMkLst>
        </pc:graphicFrameChg>
        <pc:graphicFrameChg chg="add del mod modGraphic">
          <ac:chgData name="Srivaths Swaminathan" userId="S::srivaths.swaminathan@hgcapital.com::fab820a8-d04c-4fb7-bc62-495e227921e9" providerId="AD" clId="Web-{7FDD5011-FB1A-E971-3261-7273B2D5E549}" dt="2023-08-14T11:56:02.429" v="665"/>
          <ac:graphicFrameMkLst>
            <pc:docMk/>
            <pc:sldMk cId="3197476374" sldId="2147479598"/>
            <ac:graphicFrameMk id="206" creationId="{CEB63050-13F3-C6EB-88B6-87F7D50DE287}"/>
          </ac:graphicFrameMkLst>
        </pc:graphicFrameChg>
        <pc:picChg chg="add">
          <ac:chgData name="Srivaths Swaminathan" userId="S::srivaths.swaminathan@hgcapital.com::fab820a8-d04c-4fb7-bc62-495e227921e9" providerId="AD" clId="Web-{7FDD5011-FB1A-E971-3261-7273B2D5E549}" dt="2023-08-14T12:07:12.079" v="869"/>
          <ac:picMkLst>
            <pc:docMk/>
            <pc:sldMk cId="3197476374" sldId="2147479598"/>
            <ac:picMk id="867" creationId="{74DF8B4A-3604-2E7E-8FEE-06179CC42EEB}"/>
          </ac:picMkLst>
        </pc:picChg>
      </pc:sldChg>
      <pc:sldChg chg="addSp delSp modSp add replId">
        <pc:chgData name="Srivaths Swaminathan" userId="S::srivaths.swaminathan@hgcapital.com::fab820a8-d04c-4fb7-bc62-495e227921e9" providerId="AD" clId="Web-{7FDD5011-FB1A-E971-3261-7273B2D5E549}" dt="2023-08-14T15:39:59.304" v="2409" actId="20577"/>
        <pc:sldMkLst>
          <pc:docMk/>
          <pc:sldMk cId="1878468969" sldId="2147479599"/>
        </pc:sldMkLst>
        <pc:spChg chg="del">
          <ac:chgData name="Srivaths Swaminathan" userId="S::srivaths.swaminathan@hgcapital.com::fab820a8-d04c-4fb7-bc62-495e227921e9" providerId="AD" clId="Web-{7FDD5011-FB1A-E971-3261-7273B2D5E549}" dt="2023-08-14T12:05:01.743" v="837"/>
          <ac:spMkLst>
            <pc:docMk/>
            <pc:sldMk cId="1878468969" sldId="2147479599"/>
            <ac:spMk id="3" creationId="{64B01FC8-AC26-260F-4516-1ACD4737CF20}"/>
          </ac:spMkLst>
        </pc:spChg>
        <pc:spChg chg="mod">
          <ac:chgData name="Srivaths Swaminathan" userId="S::srivaths.swaminathan@hgcapital.com::fab820a8-d04c-4fb7-bc62-495e227921e9" providerId="AD" clId="Web-{7FDD5011-FB1A-E971-3261-7273B2D5E549}" dt="2023-08-14T11:58:28.469" v="697" actId="20577"/>
          <ac:spMkLst>
            <pc:docMk/>
            <pc:sldMk cId="1878468969" sldId="2147479599"/>
            <ac:spMk id="6" creationId="{8EAF3DD4-7C88-3984-D7AB-C69DFA515374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00:41.680" v="758" actId="20577"/>
          <ac:spMkLst>
            <pc:docMk/>
            <pc:sldMk cId="1878468969" sldId="2147479599"/>
            <ac:spMk id="257" creationId="{54FD9A00-7636-C855-5424-F1A292973C49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5:39:59.304" v="2409" actId="20577"/>
          <ac:spMkLst>
            <pc:docMk/>
            <pc:sldMk cId="1878468969" sldId="2147479599"/>
            <ac:spMk id="384" creationId="{B95B0FF1-3924-AF5E-6C56-69F599233240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07:19.079" v="872" actId="1076"/>
          <ac:spMkLst>
            <pc:docMk/>
            <pc:sldMk cId="1878468969" sldId="2147479599"/>
            <ac:spMk id="386" creationId="{6ACD031F-10B2-B16D-9621-203802F1E6B5}"/>
          </ac:spMkLst>
        </pc:spChg>
        <pc:graphicFrameChg chg="del">
          <ac:chgData name="Srivaths Swaminathan" userId="S::srivaths.swaminathan@hgcapital.com::fab820a8-d04c-4fb7-bc62-495e227921e9" providerId="AD" clId="Web-{7FDD5011-FB1A-E971-3261-7273B2D5E549}" dt="2023-08-14T11:55:14.457" v="658"/>
          <ac:graphicFrameMkLst>
            <pc:docMk/>
            <pc:sldMk cId="1878468969" sldId="2147479599"/>
            <ac:graphicFrameMk id="70" creationId="{C9EC78F4-21CC-9752-6484-4E700D8722DA}"/>
          </ac:graphicFrameMkLst>
        </pc:graphicFrameChg>
        <pc:graphicFrameChg chg="mod modGraphic">
          <ac:chgData name="Srivaths Swaminathan" userId="S::srivaths.swaminathan@hgcapital.com::fab820a8-d04c-4fb7-bc62-495e227921e9" providerId="AD" clId="Web-{7FDD5011-FB1A-E971-3261-7273B2D5E549}" dt="2023-08-14T12:03:52.098" v="783" actId="20577"/>
          <ac:graphicFrameMkLst>
            <pc:docMk/>
            <pc:sldMk cId="1878468969" sldId="2147479599"/>
            <ac:graphicFrameMk id="206" creationId="{CEB63050-13F3-C6EB-88B6-87F7D50DE287}"/>
          </ac:graphicFrameMkLst>
        </pc:graphicFrameChg>
        <pc:picChg chg="add mod">
          <ac:chgData name="Srivaths Swaminathan" userId="S::srivaths.swaminathan@hgcapital.com::fab820a8-d04c-4fb7-bc62-495e227921e9" providerId="AD" clId="Web-{7FDD5011-FB1A-E971-3261-7273B2D5E549}" dt="2023-08-14T12:07:19.095" v="873" actId="1076"/>
          <ac:picMkLst>
            <pc:docMk/>
            <pc:sldMk cId="1878468969" sldId="2147479599"/>
            <ac:picMk id="388" creationId="{7F93C5AA-1831-3117-84E4-1E8C64C196D4}"/>
          </ac:picMkLst>
        </pc:picChg>
      </pc:sldChg>
      <pc:sldChg chg="addSp delSp modSp add replId">
        <pc:chgData name="Srivaths Swaminathan" userId="S::srivaths.swaminathan@hgcapital.com::fab820a8-d04c-4fb7-bc62-495e227921e9" providerId="AD" clId="Web-{7FDD5011-FB1A-E971-3261-7273B2D5E549}" dt="2023-08-14T12:48:44.590" v="2107"/>
        <pc:sldMkLst>
          <pc:docMk/>
          <pc:sldMk cId="2430291838" sldId="2147479600"/>
        </pc:sldMkLst>
        <pc:spChg chg="mod">
          <ac:chgData name="Srivaths Swaminathan" userId="S::srivaths.swaminathan@hgcapital.com::fab820a8-d04c-4fb7-bc62-495e227921e9" providerId="AD" clId="Web-{7FDD5011-FB1A-E971-3261-7273B2D5E549}" dt="2023-08-14T12:32:53.157" v="1592" actId="20577"/>
          <ac:spMkLst>
            <pc:docMk/>
            <pc:sldMk cId="2430291838" sldId="2147479600"/>
            <ac:spMk id="2" creationId="{E095F009-F48C-2687-23C2-E2266D3C074D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381" v="1676" actId="1076"/>
          <ac:spMkLst>
            <pc:docMk/>
            <pc:sldMk cId="2430291838" sldId="2147479600"/>
            <ac:spMk id="4" creationId="{472058AA-0D6C-49B5-C5BA-0FFF64842C18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397" v="1677" actId="1076"/>
          <ac:spMkLst>
            <pc:docMk/>
            <pc:sldMk cId="2430291838" sldId="2147479600"/>
            <ac:spMk id="6" creationId="{D5FBF7C8-CDF0-2E8E-A751-4F4D027EE748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413" v="1678" actId="1076"/>
          <ac:spMkLst>
            <pc:docMk/>
            <pc:sldMk cId="2430291838" sldId="2147479600"/>
            <ac:spMk id="8" creationId="{97D2897A-601C-0E33-E03D-BC387B2891AD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444" v="1680" actId="1076"/>
          <ac:spMkLst>
            <pc:docMk/>
            <pc:sldMk cId="2430291838" sldId="2147479600"/>
            <ac:spMk id="14" creationId="{5ED30C49-7CFB-FE0D-BAE1-D757C5611F4A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460" v="1681" actId="1076"/>
          <ac:spMkLst>
            <pc:docMk/>
            <pc:sldMk cId="2430291838" sldId="2147479600"/>
            <ac:spMk id="16" creationId="{D6CBC610-D402-99AC-61D3-184185AE6496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2:56.688" v="1597"/>
          <ac:spMkLst>
            <pc:docMk/>
            <pc:sldMk cId="2430291838" sldId="2147479600"/>
            <ac:spMk id="19" creationId="{38046FBE-FDC6-A2BA-4AD6-30042D44F0B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475" v="1682" actId="1076"/>
          <ac:spMkLst>
            <pc:docMk/>
            <pc:sldMk cId="2430291838" sldId="2147479600"/>
            <ac:spMk id="20" creationId="{62FCEE29-8931-85A1-3310-F79EC6839069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2:56.688" v="1596"/>
          <ac:spMkLst>
            <pc:docMk/>
            <pc:sldMk cId="2430291838" sldId="2147479600"/>
            <ac:spMk id="21" creationId="{540E6240-D964-5A48-A1F2-BA5975EE8E51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2:56.688" v="1595"/>
          <ac:spMkLst>
            <pc:docMk/>
            <pc:sldMk cId="2430291838" sldId="2147479600"/>
            <ac:spMk id="23" creationId="{45907CDD-E434-EC95-B39C-0A45DD47BE35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491" v="1683" actId="1076"/>
          <ac:spMkLst>
            <pc:docMk/>
            <pc:sldMk cId="2430291838" sldId="2147479600"/>
            <ac:spMk id="24" creationId="{C244C209-7999-67DC-F5ED-AB9C07BE53F4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2:56.688" v="1594"/>
          <ac:spMkLst>
            <pc:docMk/>
            <pc:sldMk cId="2430291838" sldId="2147479600"/>
            <ac:spMk id="25" creationId="{E4D72C7E-E7E2-ED88-EE3A-80C017DA31DE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32:56.688" v="1593"/>
          <ac:spMkLst>
            <pc:docMk/>
            <pc:sldMk cId="2430291838" sldId="2147479600"/>
            <ac:spMk id="26" creationId="{2CE74351-0857-36AD-4D6A-175EE0F97A5F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507" v="1684" actId="1076"/>
          <ac:spMkLst>
            <pc:docMk/>
            <pc:sldMk cId="2430291838" sldId="2147479600"/>
            <ac:spMk id="28" creationId="{BA74386F-FDFF-5E63-609B-C255558EBEF9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522" v="1685" actId="1076"/>
          <ac:spMkLst>
            <pc:docMk/>
            <pc:sldMk cId="2430291838" sldId="2147479600"/>
            <ac:spMk id="30" creationId="{BC725E16-544A-3AD0-FCAB-57EA0CA49D14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538" v="1686" actId="1076"/>
          <ac:spMkLst>
            <pc:docMk/>
            <pc:sldMk cId="2430291838" sldId="2147479600"/>
            <ac:spMk id="32" creationId="{D67E38BB-6A2C-05A3-D2E1-95316FA18C49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4:32.553" v="1687" actId="1076"/>
          <ac:spMkLst>
            <pc:docMk/>
            <pc:sldMk cId="2430291838" sldId="2147479600"/>
            <ac:spMk id="34" creationId="{92787860-8BE6-0AA0-0EFA-42D583212EFC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5:36.464" v="1717" actId="20577"/>
          <ac:spMkLst>
            <pc:docMk/>
            <pc:sldMk cId="2430291838" sldId="2147479600"/>
            <ac:spMk id="36" creationId="{9BA39008-7B07-B743-175B-9EC723CBDB73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35:33.541" v="1716" actId="20577"/>
          <ac:spMkLst>
            <pc:docMk/>
            <pc:sldMk cId="2430291838" sldId="2147479600"/>
            <ac:spMk id="37" creationId="{A3F17FC7-2148-90DD-B3A1-693F06FFAB5E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47:50.259" v="2104" actId="1076"/>
          <ac:spMkLst>
            <pc:docMk/>
            <pc:sldMk cId="2430291838" sldId="2147479600"/>
            <ac:spMk id="39" creationId="{343C2699-1C33-BA30-CC07-D1C66D578E64}"/>
          </ac:spMkLst>
        </pc:spChg>
        <pc:spChg chg="add">
          <ac:chgData name="Srivaths Swaminathan" userId="S::srivaths.swaminathan@hgcapital.com::fab820a8-d04c-4fb7-bc62-495e227921e9" providerId="AD" clId="Web-{7FDD5011-FB1A-E971-3261-7273B2D5E549}" dt="2023-08-14T12:48:44.574" v="2106"/>
          <ac:spMkLst>
            <pc:docMk/>
            <pc:sldMk cId="2430291838" sldId="2147479600"/>
            <ac:spMk id="41" creationId="{937D361E-9F77-9567-BD8B-2DF5AAB63104}"/>
          </ac:spMkLst>
        </pc:spChg>
        <pc:graphicFrameChg chg="add mod">
          <ac:chgData name="Srivaths Swaminathan" userId="S::srivaths.swaminathan@hgcapital.com::fab820a8-d04c-4fb7-bc62-495e227921e9" providerId="AD" clId="Web-{7FDD5011-FB1A-E971-3261-7273B2D5E549}" dt="2023-08-14T12:34:32.428" v="1679" actId="1076"/>
          <ac:graphicFrameMkLst>
            <pc:docMk/>
            <pc:sldMk cId="2430291838" sldId="2147479600"/>
            <ac:graphicFrameMk id="10" creationId="{E9D35407-776C-8859-5B56-182340E4B70C}"/>
          </ac:graphicFrameMkLst>
        </pc:graphicFrameChg>
        <pc:graphicFrameChg chg="del">
          <ac:chgData name="Srivaths Swaminathan" userId="S::srivaths.swaminathan@hgcapital.com::fab820a8-d04c-4fb7-bc62-495e227921e9" providerId="AD" clId="Web-{7FDD5011-FB1A-E971-3261-7273B2D5E549}" dt="2023-08-14T12:32:56.688" v="1598"/>
          <ac:graphicFrameMkLst>
            <pc:docMk/>
            <pc:sldMk cId="2430291838" sldId="2147479600"/>
            <ac:graphicFrameMk id="11" creationId="{46156316-6DC1-7C0A-6911-E1364C4FDBBD}"/>
          </ac:graphicFrameMkLst>
        </pc:graphicFrameChg>
        <pc:picChg chg="add">
          <ac:chgData name="Srivaths Swaminathan" userId="S::srivaths.swaminathan@hgcapital.com::fab820a8-d04c-4fb7-bc62-495e227921e9" providerId="AD" clId="Web-{7FDD5011-FB1A-E971-3261-7273B2D5E549}" dt="2023-08-14T12:48:44.590" v="2107"/>
          <ac:picMkLst>
            <pc:docMk/>
            <pc:sldMk cId="2430291838" sldId="2147479600"/>
            <ac:picMk id="43" creationId="{E68D69D4-B0C3-90D6-AAB0-2EB53D9E2D9B}"/>
          </ac:picMkLst>
        </pc:picChg>
      </pc:sldChg>
      <pc:sldChg chg="addSp delSp modSp add replId">
        <pc:chgData name="Srivaths Swaminathan" userId="S::srivaths.swaminathan@hgcapital.com::fab820a8-d04c-4fb7-bc62-495e227921e9" providerId="AD" clId="Web-{7FDD5011-FB1A-E971-3261-7273B2D5E549}" dt="2023-08-14T13:03:21.708" v="2403" actId="20577"/>
        <pc:sldMkLst>
          <pc:docMk/>
          <pc:sldMk cId="747172435" sldId="2147479601"/>
        </pc:sldMkLst>
        <pc:spChg chg="add del">
          <ac:chgData name="Srivaths Swaminathan" userId="S::srivaths.swaminathan@hgcapital.com::fab820a8-d04c-4fb7-bc62-495e227921e9" providerId="AD" clId="Web-{7FDD5011-FB1A-E971-3261-7273B2D5E549}" dt="2023-08-14T12:57:27.139" v="2298"/>
          <ac:spMkLst>
            <pc:docMk/>
            <pc:sldMk cId="747172435" sldId="2147479601"/>
            <ac:spMk id="4" creationId="{745420FD-780A-91C1-4E81-C8DD60F41E0B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7:27.139" v="2297"/>
          <ac:spMkLst>
            <pc:docMk/>
            <pc:sldMk cId="747172435" sldId="2147479601"/>
            <ac:spMk id="6" creationId="{F9B905AE-8C12-5A9D-964E-BFA336D1E839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7:27.139" v="2296"/>
          <ac:spMkLst>
            <pc:docMk/>
            <pc:sldMk cId="747172435" sldId="2147479601"/>
            <ac:spMk id="8" creationId="{3E40209C-2E0E-AB30-B0CB-8189E4036D2E}"/>
          </ac:spMkLst>
        </pc:spChg>
        <pc:spChg chg="add del">
          <ac:chgData name="Srivaths Swaminathan" userId="S::srivaths.swaminathan@hgcapital.com::fab820a8-d04c-4fb7-bc62-495e227921e9" providerId="AD" clId="Web-{7FDD5011-FB1A-E971-3261-7273B2D5E549}" dt="2023-08-14T12:57:27.139" v="2295"/>
          <ac:spMkLst>
            <pc:docMk/>
            <pc:sldMk cId="747172435" sldId="2147479601"/>
            <ac:spMk id="10" creationId="{7C7C1F49-C3FE-8505-4E34-02BDC933402D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8"/>
          <ac:spMkLst>
            <pc:docMk/>
            <pc:sldMk cId="747172435" sldId="2147479601"/>
            <ac:spMk id="19" creationId="{38046FBE-FDC6-A2BA-4AD6-30042D44F0BF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7"/>
          <ac:spMkLst>
            <pc:docMk/>
            <pc:sldMk cId="747172435" sldId="2147479601"/>
            <ac:spMk id="21" creationId="{540E6240-D964-5A48-A1F2-BA5975EE8E51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6"/>
          <ac:spMkLst>
            <pc:docMk/>
            <pc:sldMk cId="747172435" sldId="2147479601"/>
            <ac:spMk id="23" creationId="{45907CDD-E434-EC95-B39C-0A45DD47BE35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5"/>
          <ac:spMkLst>
            <pc:docMk/>
            <pc:sldMk cId="747172435" sldId="2147479601"/>
            <ac:spMk id="25" creationId="{E4D72C7E-E7E2-ED88-EE3A-80C017DA31DE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4"/>
          <ac:spMkLst>
            <pc:docMk/>
            <pc:sldMk cId="747172435" sldId="2147479601"/>
            <ac:spMk id="26" creationId="{2CE74351-0857-36AD-4D6A-175EE0F97A5F}"/>
          </ac:spMkLst>
        </pc:spChg>
        <pc:spChg chg="del">
          <ac:chgData name="Srivaths Swaminathan" userId="S::srivaths.swaminathan@hgcapital.com::fab820a8-d04c-4fb7-bc62-495e227921e9" providerId="AD" clId="Web-{7FDD5011-FB1A-E971-3261-7273B2D5E549}" dt="2023-08-14T12:53:57.877" v="2113"/>
          <ac:spMkLst>
            <pc:docMk/>
            <pc:sldMk cId="747172435" sldId="2147479601"/>
            <ac:spMk id="28" creationId="{C983A64E-2125-8B60-EEF8-BC8A02CEB899}"/>
          </ac:spMkLst>
        </pc:spChg>
        <pc:spChg chg="add mod">
          <ac:chgData name="Srivaths Swaminathan" userId="S::srivaths.swaminathan@hgcapital.com::fab820a8-d04c-4fb7-bc62-495e227921e9" providerId="AD" clId="Web-{7FDD5011-FB1A-E971-3261-7273B2D5E549}" dt="2023-08-14T12:59:20.756" v="2352" actId="20577"/>
          <ac:spMkLst>
            <pc:docMk/>
            <pc:sldMk cId="747172435" sldId="2147479601"/>
            <ac:spMk id="1308" creationId="{CA2A74AB-6313-57FE-73E8-1F2401C1A978}"/>
          </ac:spMkLst>
        </pc:spChg>
        <pc:graphicFrameChg chg="del">
          <ac:chgData name="Srivaths Swaminathan" userId="S::srivaths.swaminathan@hgcapital.com::fab820a8-d04c-4fb7-bc62-495e227921e9" providerId="AD" clId="Web-{7FDD5011-FB1A-E971-3261-7273B2D5E549}" dt="2023-08-14T12:53:57.877" v="2119"/>
          <ac:graphicFrameMkLst>
            <pc:docMk/>
            <pc:sldMk cId="747172435" sldId="2147479601"/>
            <ac:graphicFrameMk id="11" creationId="{46156316-6DC1-7C0A-6911-E1364C4FDBBD}"/>
          </ac:graphicFrameMkLst>
        </pc:graphicFrameChg>
        <pc:graphicFrameChg chg="add mod modGraphic">
          <ac:chgData name="Srivaths Swaminathan" userId="S::srivaths.swaminathan@hgcapital.com::fab820a8-d04c-4fb7-bc62-495e227921e9" providerId="AD" clId="Web-{7FDD5011-FB1A-E971-3261-7273B2D5E549}" dt="2023-08-14T13:03:21.708" v="2403" actId="20577"/>
          <ac:graphicFrameMkLst>
            <pc:docMk/>
            <pc:sldMk cId="747172435" sldId="2147479601"/>
            <ac:graphicFrameMk id="13" creationId="{F106D75A-020C-7B0C-3D25-CC576D300A8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pPr>
            <a:r>
              <a:rPr lang="en-US" sz="2400" b="1" i="0" dirty="0">
                <a:solidFill>
                  <a:schemeClr val="bg1"/>
                </a:solidFill>
                <a:latin typeface="+mj-lt"/>
              </a:rPr>
              <a:t>Annual Expenses</a:t>
            </a:r>
          </a:p>
        </c:rich>
      </c:tx>
      <c:layout>
        <c:manualLayout>
          <c:xMode val="edge"/>
          <c:yMode val="edge"/>
          <c:x val="0.10201132211539853"/>
          <c:y val="0.360108675696926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bg1"/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7736126375694437"/>
          <c:y val="0.34813180788581677"/>
          <c:w val="0.66889839056924771"/>
          <c:h val="0.5604669792390795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AF-4815-850E-F2BDB868625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9AF-4815-850E-F2BDB868625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erver Hosting</c:v>
                </c:pt>
                <c:pt idx="1">
                  <c:v>Miscellaneou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9AF-4815-850E-F2BDB86862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3936170212765957E-2"/>
          <c:y val="0.48247273257509476"/>
          <c:w val="0.33025140308259338"/>
          <c:h val="0.206963847994953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en-US" sz="1862" b="0" i="0" u="none" strike="noStrike" baseline="0" dirty="0">
                <a:effectLst/>
              </a:rPr>
              <a:t>Annual Cost per Environmen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067193518483694"/>
          <c:y val="9.4869832415488284E-2"/>
          <c:w val="0.85471721907197673"/>
          <c:h val="0.670979971070431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osting Cost (USD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352243279307863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E31-5643-93A6-C73509C89AF7}"/>
                </c:ext>
              </c:extLst>
            </c:dLbl>
            <c:dLbl>
              <c:idx val="1"/>
              <c:layout>
                <c:manualLayout>
                  <c:x val="1.1239112110143299E-3"/>
                  <c:y val="0.209596681110821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7ED-44EE-9E8C-CFDE886580B0}"/>
                </c:ext>
              </c:extLst>
            </c:dLbl>
            <c:dLbl>
              <c:idx val="2"/>
              <c:layout>
                <c:manualLayout>
                  <c:x val="-8.2419203360713856E-17"/>
                  <c:y val="0.161564108356257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ED-44EE-9E8C-CFDE886580B0}"/>
                </c:ext>
              </c:extLst>
            </c:dLbl>
            <c:dLbl>
              <c:idx val="3"/>
              <c:layout>
                <c:manualLayout>
                  <c:x val="0"/>
                  <c:y val="0.161917733990317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E31-5643-93A6-C73509C89A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roduction</c:v>
                </c:pt>
                <c:pt idx="1">
                  <c:v>Ryan Air</c:v>
                </c:pt>
                <c:pt idx="2">
                  <c:v>Emirates</c:v>
                </c:pt>
                <c:pt idx="3">
                  <c:v>RSSB</c:v>
                </c:pt>
              </c:strCache>
            </c:strRef>
          </c:cat>
          <c:val>
            <c:numRef>
              <c:f>Sheet1!$B$2:$B$5</c:f>
              <c:numCache>
                <c:formatCode>[$$-409]#,##0.00</c:formatCode>
                <c:ptCount val="4"/>
                <c:pt idx="0">
                  <c:v>42056.800000000003</c:v>
                </c:pt>
                <c:pt idx="1">
                  <c:v>32438.3</c:v>
                </c:pt>
                <c:pt idx="2">
                  <c:v>29337.24</c:v>
                </c:pt>
                <c:pt idx="3">
                  <c:v>29337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1-5643-93A6-C73509C89A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-15"/>
        <c:axId val="1668384192"/>
        <c:axId val="815026319"/>
      </c:barChart>
      <c:catAx>
        <c:axId val="1668384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5026319"/>
        <c:crosses val="autoZero"/>
        <c:auto val="1"/>
        <c:lblAlgn val="ctr"/>
        <c:lblOffset val="100"/>
        <c:noMultiLvlLbl val="0"/>
      </c:catAx>
      <c:valAx>
        <c:axId val="815026319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alpha val="50000"/>
                </a:schemeClr>
              </a:solidFill>
              <a:round/>
            </a:ln>
            <a:effectLst/>
          </c:spPr>
        </c:majorGridlines>
        <c:numFmt formatCode="[$$-409]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8384192"/>
        <c:crosses val="autoZero"/>
        <c:crossBetween val="between"/>
      </c:valAx>
      <c:dTable>
        <c:showHorzBorder val="1"/>
        <c:showVertBorder val="1"/>
        <c:showOutline val="1"/>
        <c:showKeys val="0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952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en-US" dirty="0"/>
              <a:t>Total Server Hosting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indow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584905660377358E-3"/>
                  <c:y val="0.3381725248742594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EST. $133,169.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B1A3-4912-BB75-CA8A854F4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um</c:v>
                </c:pt>
              </c:strCache>
            </c:strRef>
          </c:cat>
          <c:val>
            <c:numRef>
              <c:f>Sheet1!$B$2</c:f>
              <c:numCache>
                <c:formatCode>[$$-409]#,##0.00</c:formatCode>
                <c:ptCount val="1"/>
                <c:pt idx="0">
                  <c:v>13316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1-5643-93A6-C73509C89AF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nu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20C-4CCB-961C-7ECDF2E20B44}"/>
              </c:ext>
            </c:extLst>
          </c:dPt>
          <c:dLbls>
            <c:dLbl>
              <c:idx val="0"/>
              <c:layout>
                <c:manualLayout>
                  <c:x val="7.6650943396226415E-3"/>
                  <c:y val="2.0495405400553092E-2"/>
                </c:manualLayout>
              </c:layout>
              <c:tx>
                <c:rich>
                  <a:bodyPr/>
                  <a:lstStyle/>
                  <a:p>
                    <a:r>
                      <a:rPr lang="en-US" altLang="zh-CN" dirty="0"/>
                      <a:t>EST. </a:t>
                    </a:r>
                    <a:fld id="{E92D999E-4FC5-48CF-8F05-2D278B8AC4E3}" type="VALUE">
                      <a:rPr lang="en-US" smtClean="0"/>
                      <a:pPr/>
                      <a:t>[VALUE]</a:t>
                    </a:fld>
                    <a:endParaRPr lang="en-US" altLang="zh-CN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69924602585056"/>
                      <c:h val="0.1811528729837794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20C-4CCB-961C-7ECDF2E20B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sum</c:v>
                </c:pt>
              </c:strCache>
            </c:strRef>
          </c:cat>
          <c:val>
            <c:numRef>
              <c:f>Sheet1!$C$2</c:f>
              <c:numCache>
                <c:formatCode>[$$-409]#,##0.00</c:formatCode>
                <c:ptCount val="1"/>
                <c:pt idx="0">
                  <c:v>66584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31-5643-93A6-C73509C89A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-15"/>
        <c:axId val="1668384192"/>
        <c:axId val="815026319"/>
      </c:barChart>
      <c:catAx>
        <c:axId val="1668384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5026319"/>
        <c:crosses val="autoZero"/>
        <c:auto val="1"/>
        <c:lblAlgn val="ctr"/>
        <c:lblOffset val="100"/>
        <c:noMultiLvlLbl val="0"/>
      </c:catAx>
      <c:valAx>
        <c:axId val="815026319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alpha val="5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st (US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$-409]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8384192"/>
        <c:crosses val="autoZero"/>
        <c:crossBetween val="between"/>
      </c:valAx>
      <c:spPr>
        <a:noFill/>
        <a:ln w="9525">
          <a:noFill/>
        </a:ln>
        <a:effectLst/>
      </c:spPr>
    </c:plotArea>
    <c:legend>
      <c:legendPos val="b"/>
      <c:layout>
        <c:manualLayout>
          <c:xMode val="edge"/>
          <c:yMode val="edge"/>
          <c:x val="0.39559890803743869"/>
          <c:y val="0.93147870999809768"/>
          <c:w val="0.29488708958549992"/>
          <c:h val="5.05878985312976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MY" dirty="0"/>
              <a:t>Estimated Monthly</a:t>
            </a:r>
            <a:r>
              <a:rPr lang="en-MY" baseline="0" dirty="0"/>
              <a:t> Cost (USD)</a:t>
            </a:r>
            <a:endParaRPr lang="en-MY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Microsoft SQL (With Windows Server)</c:v>
                </c:pt>
                <c:pt idx="1">
                  <c:v>PostgreSQL (RDS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00</c:v>
                </c:pt>
                <c:pt idx="1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2B-4344-9378-EF7941776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2425984"/>
        <c:axId val="1656766736"/>
      </c:barChart>
      <c:catAx>
        <c:axId val="122425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6766736"/>
        <c:crosses val="autoZero"/>
        <c:auto val="1"/>
        <c:lblAlgn val="ctr"/>
        <c:lblOffset val="100"/>
        <c:noMultiLvlLbl val="0"/>
      </c:catAx>
      <c:valAx>
        <c:axId val="165676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425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076F83-F82D-4F1E-AF5B-A0EBF005D8F7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7E184A9-1CAA-4E98-BA99-1D05EDC51DB6}">
      <dgm:prSet phldrT="[Text]" custT="1"/>
      <dgm:spPr>
        <a:solidFill>
          <a:srgbClr val="6973CF"/>
        </a:solidFill>
      </dgm:spPr>
      <dgm:t>
        <a:bodyPr/>
        <a:lstStyle/>
        <a:p>
          <a:r>
            <a:rPr lang="en-GB" sz="2800"/>
            <a:t>ROI / Payback of addressing tech debt</a:t>
          </a:r>
        </a:p>
      </dgm:t>
    </dgm:pt>
    <dgm:pt modelId="{8F32820E-DC65-47BD-B134-10A5B6622CF6}" type="parTrans" cxnId="{38680ACB-0353-4E1B-B61C-0AF23A01E2B5}">
      <dgm:prSet/>
      <dgm:spPr/>
      <dgm:t>
        <a:bodyPr/>
        <a:lstStyle/>
        <a:p>
          <a:endParaRPr lang="en-GB"/>
        </a:p>
      </dgm:t>
    </dgm:pt>
    <dgm:pt modelId="{A424F569-EE8F-41F9-87DA-A788004DA4A2}" type="sibTrans" cxnId="{38680ACB-0353-4E1B-B61C-0AF23A01E2B5}">
      <dgm:prSet/>
      <dgm:spPr/>
      <dgm:t>
        <a:bodyPr/>
        <a:lstStyle/>
        <a:p>
          <a:endParaRPr lang="en-GB"/>
        </a:p>
      </dgm:t>
    </dgm:pt>
    <dgm:pt modelId="{01BD4023-28B5-4652-A774-41CA3E32199D}">
      <dgm:prSet phldrT="[Text]"/>
      <dgm:spPr>
        <a:solidFill>
          <a:srgbClr val="009650"/>
        </a:solidFill>
      </dgm:spPr>
      <dgm:t>
        <a:bodyPr/>
        <a:lstStyle/>
        <a:p>
          <a:r>
            <a:rPr lang="en-GB"/>
            <a:t>Measurable benefits translated to EBITDA impact</a:t>
          </a:r>
        </a:p>
      </dgm:t>
    </dgm:pt>
    <dgm:pt modelId="{3F548E76-9BD1-43D2-98C2-4B87B2279E18}" type="sibTrans" cxnId="{56F9366A-326B-4538-80FA-AA36572DBF70}">
      <dgm:prSet/>
      <dgm:spPr/>
      <dgm:t>
        <a:bodyPr/>
        <a:lstStyle/>
        <a:p>
          <a:endParaRPr lang="en-GB"/>
        </a:p>
      </dgm:t>
    </dgm:pt>
    <dgm:pt modelId="{C8BF80D2-BF1F-4EB5-B5BF-607E519F4F86}" type="parTrans" cxnId="{56F9366A-326B-4538-80FA-AA36572DBF70}">
      <dgm:prSet/>
      <dgm:spPr/>
      <dgm:t>
        <a:bodyPr/>
        <a:lstStyle/>
        <a:p>
          <a:endParaRPr lang="en-GB"/>
        </a:p>
      </dgm:t>
    </dgm:pt>
    <dgm:pt modelId="{85AB3683-D3C0-4B26-974E-247F486342AA}">
      <dgm:prSet phldrT="[Text]" custT="1"/>
      <dgm:spPr>
        <a:solidFill>
          <a:srgbClr val="009650"/>
        </a:solidFill>
      </dgm:spPr>
      <dgm:t>
        <a:bodyPr/>
        <a:lstStyle/>
        <a:p>
          <a:r>
            <a:rPr lang="en-GB" sz="1500"/>
            <a:t>Reduced hosting costs </a:t>
          </a:r>
        </a:p>
      </dgm:t>
    </dgm:pt>
    <dgm:pt modelId="{4392777F-7F47-44CE-95D2-38D042E37E79}" type="sibTrans" cxnId="{A0C57C44-6A1B-463E-A398-292A3B0D7BD9}">
      <dgm:prSet/>
      <dgm:spPr/>
      <dgm:t>
        <a:bodyPr/>
        <a:lstStyle/>
        <a:p>
          <a:endParaRPr lang="en-GB"/>
        </a:p>
      </dgm:t>
    </dgm:pt>
    <dgm:pt modelId="{8A6AF915-DEA4-4AD4-9BAE-8D50F2C609AE}" type="parTrans" cxnId="{A0C57C44-6A1B-463E-A398-292A3B0D7BD9}">
      <dgm:prSet/>
      <dgm:spPr/>
      <dgm:t>
        <a:bodyPr/>
        <a:lstStyle/>
        <a:p>
          <a:endParaRPr lang="en-GB"/>
        </a:p>
      </dgm:t>
    </dgm:pt>
    <dgm:pt modelId="{7666AFD3-9B94-4744-9678-54D1C212A2B9}">
      <dgm:prSet phldrT="[Text]" custT="1"/>
      <dgm:spPr>
        <a:solidFill>
          <a:srgbClr val="009650"/>
        </a:solidFill>
      </dgm:spPr>
      <dgm:t>
        <a:bodyPr/>
        <a:lstStyle/>
        <a:p>
          <a:r>
            <a:rPr lang="en-GB" sz="1500"/>
            <a:t>Avoided costs on technical operations and support teams</a:t>
          </a:r>
        </a:p>
      </dgm:t>
    </dgm:pt>
    <dgm:pt modelId="{090C99E0-C798-48CF-9EC5-9C844F400764}" type="sibTrans" cxnId="{3B8491C8-C0A5-400B-B434-BA3BB34B0C8D}">
      <dgm:prSet/>
      <dgm:spPr/>
      <dgm:t>
        <a:bodyPr/>
        <a:lstStyle/>
        <a:p>
          <a:endParaRPr lang="en-GB"/>
        </a:p>
      </dgm:t>
    </dgm:pt>
    <dgm:pt modelId="{011A79EE-21F8-4C0E-8ACA-B52FA46CC3DC}" type="parTrans" cxnId="{3B8491C8-C0A5-400B-B434-BA3BB34B0C8D}">
      <dgm:prSet/>
      <dgm:spPr/>
      <dgm:t>
        <a:bodyPr/>
        <a:lstStyle/>
        <a:p>
          <a:endParaRPr lang="en-GB"/>
        </a:p>
      </dgm:t>
    </dgm:pt>
    <dgm:pt modelId="{238FE111-9265-457D-AB5B-377D831B4344}">
      <dgm:prSet phldrT="[Text]" custT="1"/>
      <dgm:spPr>
        <a:solidFill>
          <a:srgbClr val="009650"/>
        </a:solidFill>
      </dgm:spPr>
      <dgm:t>
        <a:bodyPr/>
        <a:lstStyle/>
        <a:p>
          <a:r>
            <a:rPr lang="en-GB" sz="1500"/>
            <a:t>Improved R&amp;D productivity -&gt; reduced R&amp;D costs or increased revenue with existing team</a:t>
          </a:r>
        </a:p>
      </dgm:t>
    </dgm:pt>
    <dgm:pt modelId="{651357FB-901D-4817-806B-6342CFD21119}" type="sibTrans" cxnId="{5D9EB0BE-34C1-4B94-8A17-5192317FC6D9}">
      <dgm:prSet/>
      <dgm:spPr/>
      <dgm:t>
        <a:bodyPr/>
        <a:lstStyle/>
        <a:p>
          <a:endParaRPr lang="en-GB"/>
        </a:p>
      </dgm:t>
    </dgm:pt>
    <dgm:pt modelId="{44C82F1F-FA01-41AF-9E1F-31D7A36F2EA1}" type="parTrans" cxnId="{5D9EB0BE-34C1-4B94-8A17-5192317FC6D9}">
      <dgm:prSet/>
      <dgm:spPr/>
      <dgm:t>
        <a:bodyPr/>
        <a:lstStyle/>
        <a:p>
          <a:endParaRPr lang="en-GB"/>
        </a:p>
      </dgm:t>
    </dgm:pt>
    <dgm:pt modelId="{DC7FDD91-F058-4526-81F5-FF06AB9BF746}">
      <dgm:prSet phldrT="[Text]"/>
      <dgm:spPr/>
      <dgm:t>
        <a:bodyPr/>
        <a:lstStyle/>
        <a:p>
          <a:r>
            <a:rPr lang="en-GB"/>
            <a:t>Cost of addressing tech debt</a:t>
          </a:r>
        </a:p>
      </dgm:t>
    </dgm:pt>
    <dgm:pt modelId="{864B0A99-5A47-4090-A43E-68798636BD1A}" type="sibTrans" cxnId="{2467985E-AE98-4F82-90D7-797A3639B3DC}">
      <dgm:prSet/>
      <dgm:spPr/>
      <dgm:t>
        <a:bodyPr/>
        <a:lstStyle/>
        <a:p>
          <a:endParaRPr lang="en-GB"/>
        </a:p>
      </dgm:t>
    </dgm:pt>
    <dgm:pt modelId="{31111E95-CAFB-49CA-857A-4ECB9BD9CA1B}" type="parTrans" cxnId="{2467985E-AE98-4F82-90D7-797A3639B3DC}">
      <dgm:prSet/>
      <dgm:spPr/>
      <dgm:t>
        <a:bodyPr/>
        <a:lstStyle/>
        <a:p>
          <a:endParaRPr lang="en-GB"/>
        </a:p>
      </dgm:t>
    </dgm:pt>
    <dgm:pt modelId="{8C0C838F-D994-41FF-8EC8-408B9B53A224}">
      <dgm:prSet phldrT="[Text]" custT="1"/>
      <dgm:spPr/>
      <dgm:t>
        <a:bodyPr/>
        <a:lstStyle/>
        <a:p>
          <a:r>
            <a:rPr lang="en-GB" sz="1500"/>
            <a:t>One-off development cost</a:t>
          </a:r>
        </a:p>
      </dgm:t>
    </dgm:pt>
    <dgm:pt modelId="{7D682D8F-5F91-4C56-88DC-108FAF5BD609}" type="sibTrans" cxnId="{7F4EC612-FA0F-4570-8D24-2EDB924F5DB5}">
      <dgm:prSet/>
      <dgm:spPr/>
      <dgm:t>
        <a:bodyPr/>
        <a:lstStyle/>
        <a:p>
          <a:endParaRPr lang="en-GB"/>
        </a:p>
      </dgm:t>
    </dgm:pt>
    <dgm:pt modelId="{B9146EFE-0431-476C-A0A2-629418DB44B5}" type="parTrans" cxnId="{7F4EC612-FA0F-4570-8D24-2EDB924F5DB5}">
      <dgm:prSet/>
      <dgm:spPr/>
      <dgm:t>
        <a:bodyPr/>
        <a:lstStyle/>
        <a:p>
          <a:endParaRPr lang="en-GB"/>
        </a:p>
      </dgm:t>
    </dgm:pt>
    <dgm:pt modelId="{B61A78D0-867E-48F0-ABA1-174FAEBC715C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GB" sz="1500"/>
            <a:t>Potential to reduce dev cost with AI tooling</a:t>
          </a:r>
        </a:p>
      </dgm:t>
    </dgm:pt>
    <dgm:pt modelId="{84A6AAA9-A386-4224-A482-07AB9DDD4835}" type="sibTrans" cxnId="{EAC33C18-3EA8-48BB-BD7E-433ED2C0EDC4}">
      <dgm:prSet/>
      <dgm:spPr/>
      <dgm:t>
        <a:bodyPr/>
        <a:lstStyle/>
        <a:p>
          <a:endParaRPr lang="en-GB"/>
        </a:p>
      </dgm:t>
    </dgm:pt>
    <dgm:pt modelId="{12454EBE-1DCE-4EE8-B5F4-F6A05D0B9514}" type="parTrans" cxnId="{EAC33C18-3EA8-48BB-BD7E-433ED2C0EDC4}">
      <dgm:prSet/>
      <dgm:spPr/>
      <dgm:t>
        <a:bodyPr/>
        <a:lstStyle/>
        <a:p>
          <a:endParaRPr lang="en-GB"/>
        </a:p>
      </dgm:t>
    </dgm:pt>
    <dgm:pt modelId="{1767C229-57B9-44E8-87E7-C51F526461C9}" type="pres">
      <dgm:prSet presAssocID="{7D076F83-F82D-4F1E-AF5B-A0EBF005D8F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9B9DE28-3758-4DA5-A99F-72D8327D7103}" type="pres">
      <dgm:prSet presAssocID="{E7E184A9-1CAA-4E98-BA99-1D05EDC51DB6}" presName="vertOne" presStyleCnt="0"/>
      <dgm:spPr/>
    </dgm:pt>
    <dgm:pt modelId="{DD7B3FF2-6D51-46E7-8702-ACF4BFDE037B}" type="pres">
      <dgm:prSet presAssocID="{E7E184A9-1CAA-4E98-BA99-1D05EDC51DB6}" presName="txOne" presStyleLbl="node0" presStyleIdx="0" presStyleCnt="1" custLinFactNeighborX="-1095" custLinFactNeighborY="52521">
        <dgm:presLayoutVars>
          <dgm:chPref val="3"/>
        </dgm:presLayoutVars>
      </dgm:prSet>
      <dgm:spPr/>
    </dgm:pt>
    <dgm:pt modelId="{F05544AE-1146-4095-AA94-789B0F94A2F4}" type="pres">
      <dgm:prSet presAssocID="{E7E184A9-1CAA-4E98-BA99-1D05EDC51DB6}" presName="parTransOne" presStyleCnt="0"/>
      <dgm:spPr/>
    </dgm:pt>
    <dgm:pt modelId="{2CF70AEA-815A-4860-B659-3B7128754132}" type="pres">
      <dgm:prSet presAssocID="{E7E184A9-1CAA-4E98-BA99-1D05EDC51DB6}" presName="horzOne" presStyleCnt="0"/>
      <dgm:spPr/>
    </dgm:pt>
    <dgm:pt modelId="{EAD8FDFE-33C1-46E0-A585-25929813C15A}" type="pres">
      <dgm:prSet presAssocID="{01BD4023-28B5-4652-A774-41CA3E32199D}" presName="vertTwo" presStyleCnt="0"/>
      <dgm:spPr/>
    </dgm:pt>
    <dgm:pt modelId="{EAC88B17-2AD7-48CB-9BB3-850B5AC2C8C7}" type="pres">
      <dgm:prSet presAssocID="{01BD4023-28B5-4652-A774-41CA3E32199D}" presName="txTwo" presStyleLbl="node2" presStyleIdx="0" presStyleCnt="2">
        <dgm:presLayoutVars>
          <dgm:chPref val="3"/>
        </dgm:presLayoutVars>
      </dgm:prSet>
      <dgm:spPr/>
    </dgm:pt>
    <dgm:pt modelId="{8F6D4E21-6581-4B2F-A498-5267749E1882}" type="pres">
      <dgm:prSet presAssocID="{01BD4023-28B5-4652-A774-41CA3E32199D}" presName="parTransTwo" presStyleCnt="0"/>
      <dgm:spPr/>
    </dgm:pt>
    <dgm:pt modelId="{12EFB21E-F81B-4D68-AC4A-9ED6A726A51C}" type="pres">
      <dgm:prSet presAssocID="{01BD4023-28B5-4652-A774-41CA3E32199D}" presName="horzTwo" presStyleCnt="0"/>
      <dgm:spPr/>
    </dgm:pt>
    <dgm:pt modelId="{D5770D76-EAF7-4E26-806B-B8526E5D1ABB}" type="pres">
      <dgm:prSet presAssocID="{85AB3683-D3C0-4B26-974E-247F486342AA}" presName="vertThree" presStyleCnt="0"/>
      <dgm:spPr/>
    </dgm:pt>
    <dgm:pt modelId="{141FA93A-0D1F-4AA1-BF78-516837CD84D8}" type="pres">
      <dgm:prSet presAssocID="{85AB3683-D3C0-4B26-974E-247F486342AA}" presName="txThree" presStyleLbl="node3" presStyleIdx="0" presStyleCnt="5" custLinFactNeighborY="-4957">
        <dgm:presLayoutVars>
          <dgm:chPref val="3"/>
        </dgm:presLayoutVars>
      </dgm:prSet>
      <dgm:spPr/>
    </dgm:pt>
    <dgm:pt modelId="{B5B50B97-785B-44E0-A777-C179BFA60374}" type="pres">
      <dgm:prSet presAssocID="{85AB3683-D3C0-4B26-974E-247F486342AA}" presName="horzThree" presStyleCnt="0"/>
      <dgm:spPr/>
    </dgm:pt>
    <dgm:pt modelId="{5C902496-7E4B-4BD7-B92E-76B5E9CF3730}" type="pres">
      <dgm:prSet presAssocID="{4392777F-7F47-44CE-95D2-38D042E37E79}" presName="sibSpaceThree" presStyleCnt="0"/>
      <dgm:spPr/>
    </dgm:pt>
    <dgm:pt modelId="{CCB1C641-4403-4577-93DA-6D947CF74B9A}" type="pres">
      <dgm:prSet presAssocID="{7666AFD3-9B94-4744-9678-54D1C212A2B9}" presName="vertThree" presStyleCnt="0"/>
      <dgm:spPr/>
    </dgm:pt>
    <dgm:pt modelId="{986AC8BF-2F9A-4B23-A5D7-D30DC7F0BFF5}" type="pres">
      <dgm:prSet presAssocID="{7666AFD3-9B94-4744-9678-54D1C212A2B9}" presName="txThree" presStyleLbl="node3" presStyleIdx="1" presStyleCnt="5" custLinFactNeighborY="-4957">
        <dgm:presLayoutVars>
          <dgm:chPref val="3"/>
        </dgm:presLayoutVars>
      </dgm:prSet>
      <dgm:spPr/>
    </dgm:pt>
    <dgm:pt modelId="{A8388411-F7F4-4FEE-AEB3-D4C6085164C8}" type="pres">
      <dgm:prSet presAssocID="{7666AFD3-9B94-4744-9678-54D1C212A2B9}" presName="horzThree" presStyleCnt="0"/>
      <dgm:spPr/>
    </dgm:pt>
    <dgm:pt modelId="{A830928C-601B-40AD-905D-F41A92705E8F}" type="pres">
      <dgm:prSet presAssocID="{090C99E0-C798-48CF-9EC5-9C844F400764}" presName="sibSpaceThree" presStyleCnt="0"/>
      <dgm:spPr/>
    </dgm:pt>
    <dgm:pt modelId="{25FE78A8-ADE8-4FA1-97FA-D3A7F3F7C28C}" type="pres">
      <dgm:prSet presAssocID="{238FE111-9265-457D-AB5B-377D831B4344}" presName="vertThree" presStyleCnt="0"/>
      <dgm:spPr/>
    </dgm:pt>
    <dgm:pt modelId="{A77A5398-6145-4584-86F2-C10EFCFF1C10}" type="pres">
      <dgm:prSet presAssocID="{238FE111-9265-457D-AB5B-377D831B4344}" presName="txThree" presStyleLbl="node3" presStyleIdx="2" presStyleCnt="5" custLinFactNeighborY="-5152">
        <dgm:presLayoutVars>
          <dgm:chPref val="3"/>
        </dgm:presLayoutVars>
      </dgm:prSet>
      <dgm:spPr/>
    </dgm:pt>
    <dgm:pt modelId="{B69CD468-BE6F-4742-BA2C-B765585D7797}" type="pres">
      <dgm:prSet presAssocID="{238FE111-9265-457D-AB5B-377D831B4344}" presName="horzThree" presStyleCnt="0"/>
      <dgm:spPr/>
    </dgm:pt>
    <dgm:pt modelId="{BFC9ECCD-F01E-4B6C-B380-E885DF6A6B8A}" type="pres">
      <dgm:prSet presAssocID="{3F548E76-9BD1-43D2-98C2-4B87B2279E18}" presName="sibSpaceTwo" presStyleCnt="0"/>
      <dgm:spPr/>
    </dgm:pt>
    <dgm:pt modelId="{54337652-DA76-4222-934C-F193CED1AD3C}" type="pres">
      <dgm:prSet presAssocID="{DC7FDD91-F058-4526-81F5-FF06AB9BF746}" presName="vertTwo" presStyleCnt="0"/>
      <dgm:spPr/>
    </dgm:pt>
    <dgm:pt modelId="{0EB3ACD7-8F8D-45EA-93D2-745D621B636F}" type="pres">
      <dgm:prSet presAssocID="{DC7FDD91-F058-4526-81F5-FF06AB9BF746}" presName="txTwo" presStyleLbl="node2" presStyleIdx="1" presStyleCnt="2">
        <dgm:presLayoutVars>
          <dgm:chPref val="3"/>
        </dgm:presLayoutVars>
      </dgm:prSet>
      <dgm:spPr/>
    </dgm:pt>
    <dgm:pt modelId="{11C74231-519D-4690-9059-FDEB2874A185}" type="pres">
      <dgm:prSet presAssocID="{DC7FDD91-F058-4526-81F5-FF06AB9BF746}" presName="parTransTwo" presStyleCnt="0"/>
      <dgm:spPr/>
    </dgm:pt>
    <dgm:pt modelId="{4C3AA1E6-2B51-426D-A881-071D8B73742B}" type="pres">
      <dgm:prSet presAssocID="{DC7FDD91-F058-4526-81F5-FF06AB9BF746}" presName="horzTwo" presStyleCnt="0"/>
      <dgm:spPr/>
    </dgm:pt>
    <dgm:pt modelId="{9404137E-95BA-4086-9B44-DF500EDE58F4}" type="pres">
      <dgm:prSet presAssocID="{8C0C838F-D994-41FF-8EC8-408B9B53A224}" presName="vertThree" presStyleCnt="0"/>
      <dgm:spPr/>
    </dgm:pt>
    <dgm:pt modelId="{463B5D90-EF65-4292-B6D0-19F1FF5730FE}" type="pres">
      <dgm:prSet presAssocID="{8C0C838F-D994-41FF-8EC8-408B9B53A224}" presName="txThree" presStyleLbl="node3" presStyleIdx="3" presStyleCnt="5" custLinFactNeighborY="-5152">
        <dgm:presLayoutVars>
          <dgm:chPref val="3"/>
        </dgm:presLayoutVars>
      </dgm:prSet>
      <dgm:spPr/>
    </dgm:pt>
    <dgm:pt modelId="{5FFD976D-7440-40DE-86D7-386C44819DDF}" type="pres">
      <dgm:prSet presAssocID="{8C0C838F-D994-41FF-8EC8-408B9B53A224}" presName="horzThree" presStyleCnt="0"/>
      <dgm:spPr/>
    </dgm:pt>
    <dgm:pt modelId="{A94597D2-01B3-422D-AC5A-047990636F6F}" type="pres">
      <dgm:prSet presAssocID="{7D682D8F-5F91-4C56-88DC-108FAF5BD609}" presName="sibSpaceThree" presStyleCnt="0"/>
      <dgm:spPr/>
    </dgm:pt>
    <dgm:pt modelId="{182505A6-DCFE-4D89-8CAA-F222C3E6010A}" type="pres">
      <dgm:prSet presAssocID="{B61A78D0-867E-48F0-ABA1-174FAEBC715C}" presName="vertThree" presStyleCnt="0"/>
      <dgm:spPr/>
    </dgm:pt>
    <dgm:pt modelId="{FFD03D75-0894-448D-832D-413194FA489A}" type="pres">
      <dgm:prSet presAssocID="{B61A78D0-867E-48F0-ABA1-174FAEBC715C}" presName="txThree" presStyleLbl="node3" presStyleIdx="4" presStyleCnt="5" custLinFactNeighborY="-5152">
        <dgm:presLayoutVars>
          <dgm:chPref val="3"/>
        </dgm:presLayoutVars>
      </dgm:prSet>
      <dgm:spPr/>
    </dgm:pt>
    <dgm:pt modelId="{8FB31E51-8F8C-40D6-9EEB-F779F45D0893}" type="pres">
      <dgm:prSet presAssocID="{B61A78D0-867E-48F0-ABA1-174FAEBC715C}" presName="horzThree" presStyleCnt="0"/>
      <dgm:spPr/>
    </dgm:pt>
  </dgm:ptLst>
  <dgm:cxnLst>
    <dgm:cxn modelId="{87F80505-CFAC-4927-B5E3-24EC81C17722}" type="presOf" srcId="{B61A78D0-867E-48F0-ABA1-174FAEBC715C}" destId="{FFD03D75-0894-448D-832D-413194FA489A}" srcOrd="0" destOrd="0" presId="urn:microsoft.com/office/officeart/2005/8/layout/hierarchy4"/>
    <dgm:cxn modelId="{7F4EC612-FA0F-4570-8D24-2EDB924F5DB5}" srcId="{DC7FDD91-F058-4526-81F5-FF06AB9BF746}" destId="{8C0C838F-D994-41FF-8EC8-408B9B53A224}" srcOrd="0" destOrd="0" parTransId="{B9146EFE-0431-476C-A0A2-629418DB44B5}" sibTransId="{7D682D8F-5F91-4C56-88DC-108FAF5BD609}"/>
    <dgm:cxn modelId="{EAC33C18-3EA8-48BB-BD7E-433ED2C0EDC4}" srcId="{DC7FDD91-F058-4526-81F5-FF06AB9BF746}" destId="{B61A78D0-867E-48F0-ABA1-174FAEBC715C}" srcOrd="1" destOrd="0" parTransId="{12454EBE-1DCE-4EE8-B5F4-F6A05D0B9514}" sibTransId="{84A6AAA9-A386-4224-A482-07AB9DDD4835}"/>
    <dgm:cxn modelId="{2467985E-AE98-4F82-90D7-797A3639B3DC}" srcId="{E7E184A9-1CAA-4E98-BA99-1D05EDC51DB6}" destId="{DC7FDD91-F058-4526-81F5-FF06AB9BF746}" srcOrd="1" destOrd="0" parTransId="{31111E95-CAFB-49CA-857A-4ECB9BD9CA1B}" sibTransId="{864B0A99-5A47-4090-A43E-68798636BD1A}"/>
    <dgm:cxn modelId="{A0C57C44-6A1B-463E-A398-292A3B0D7BD9}" srcId="{01BD4023-28B5-4652-A774-41CA3E32199D}" destId="{85AB3683-D3C0-4B26-974E-247F486342AA}" srcOrd="0" destOrd="0" parTransId="{8A6AF915-DEA4-4AD4-9BAE-8D50F2C609AE}" sibTransId="{4392777F-7F47-44CE-95D2-38D042E37E79}"/>
    <dgm:cxn modelId="{56F9366A-326B-4538-80FA-AA36572DBF70}" srcId="{E7E184A9-1CAA-4E98-BA99-1D05EDC51DB6}" destId="{01BD4023-28B5-4652-A774-41CA3E32199D}" srcOrd="0" destOrd="0" parTransId="{C8BF80D2-BF1F-4EB5-B5BF-607E519F4F86}" sibTransId="{3F548E76-9BD1-43D2-98C2-4B87B2279E18}"/>
    <dgm:cxn modelId="{621BC850-D42A-4C64-900E-41A681070D82}" type="presOf" srcId="{8C0C838F-D994-41FF-8EC8-408B9B53A224}" destId="{463B5D90-EF65-4292-B6D0-19F1FF5730FE}" srcOrd="0" destOrd="0" presId="urn:microsoft.com/office/officeart/2005/8/layout/hierarchy4"/>
    <dgm:cxn modelId="{163A0F53-121E-495F-8D7F-4F4F0C88B051}" type="presOf" srcId="{7D076F83-F82D-4F1E-AF5B-A0EBF005D8F7}" destId="{1767C229-57B9-44E8-87E7-C51F526461C9}" srcOrd="0" destOrd="0" presId="urn:microsoft.com/office/officeart/2005/8/layout/hierarchy4"/>
    <dgm:cxn modelId="{30727C80-E07F-46AD-91BE-ABE29E6401BA}" type="presOf" srcId="{238FE111-9265-457D-AB5B-377D831B4344}" destId="{A77A5398-6145-4584-86F2-C10EFCFF1C10}" srcOrd="0" destOrd="0" presId="urn:microsoft.com/office/officeart/2005/8/layout/hierarchy4"/>
    <dgm:cxn modelId="{F29DED90-8AB7-4782-B1B3-282631C75C22}" type="presOf" srcId="{DC7FDD91-F058-4526-81F5-FF06AB9BF746}" destId="{0EB3ACD7-8F8D-45EA-93D2-745D621B636F}" srcOrd="0" destOrd="0" presId="urn:microsoft.com/office/officeart/2005/8/layout/hierarchy4"/>
    <dgm:cxn modelId="{6EF9C692-ECF8-4EBF-A656-EE7E8E578947}" type="presOf" srcId="{7666AFD3-9B94-4744-9678-54D1C212A2B9}" destId="{986AC8BF-2F9A-4B23-A5D7-D30DC7F0BFF5}" srcOrd="0" destOrd="0" presId="urn:microsoft.com/office/officeart/2005/8/layout/hierarchy4"/>
    <dgm:cxn modelId="{2D7F1A93-4423-4321-8DD1-E1793987253C}" type="presOf" srcId="{E7E184A9-1CAA-4E98-BA99-1D05EDC51DB6}" destId="{DD7B3FF2-6D51-46E7-8702-ACF4BFDE037B}" srcOrd="0" destOrd="0" presId="urn:microsoft.com/office/officeart/2005/8/layout/hierarchy4"/>
    <dgm:cxn modelId="{8D885399-E4C4-4B66-ACA9-764C3A922D0F}" type="presOf" srcId="{01BD4023-28B5-4652-A774-41CA3E32199D}" destId="{EAC88B17-2AD7-48CB-9BB3-850B5AC2C8C7}" srcOrd="0" destOrd="0" presId="urn:microsoft.com/office/officeart/2005/8/layout/hierarchy4"/>
    <dgm:cxn modelId="{2DFA30AA-0131-4F5E-A8B6-C0776AD896CE}" type="presOf" srcId="{85AB3683-D3C0-4B26-974E-247F486342AA}" destId="{141FA93A-0D1F-4AA1-BF78-516837CD84D8}" srcOrd="0" destOrd="0" presId="urn:microsoft.com/office/officeart/2005/8/layout/hierarchy4"/>
    <dgm:cxn modelId="{5D9EB0BE-34C1-4B94-8A17-5192317FC6D9}" srcId="{01BD4023-28B5-4652-A774-41CA3E32199D}" destId="{238FE111-9265-457D-AB5B-377D831B4344}" srcOrd="2" destOrd="0" parTransId="{44C82F1F-FA01-41AF-9E1F-31D7A36F2EA1}" sibTransId="{651357FB-901D-4817-806B-6342CFD21119}"/>
    <dgm:cxn modelId="{3B8491C8-C0A5-400B-B434-BA3BB34B0C8D}" srcId="{01BD4023-28B5-4652-A774-41CA3E32199D}" destId="{7666AFD3-9B94-4744-9678-54D1C212A2B9}" srcOrd="1" destOrd="0" parTransId="{011A79EE-21F8-4C0E-8ACA-B52FA46CC3DC}" sibTransId="{090C99E0-C798-48CF-9EC5-9C844F400764}"/>
    <dgm:cxn modelId="{38680ACB-0353-4E1B-B61C-0AF23A01E2B5}" srcId="{7D076F83-F82D-4F1E-AF5B-A0EBF005D8F7}" destId="{E7E184A9-1CAA-4E98-BA99-1D05EDC51DB6}" srcOrd="0" destOrd="0" parTransId="{8F32820E-DC65-47BD-B134-10A5B6622CF6}" sibTransId="{A424F569-EE8F-41F9-87DA-A788004DA4A2}"/>
    <dgm:cxn modelId="{B6B73A1E-0A06-4A23-821B-38E21D48E556}" type="presParOf" srcId="{1767C229-57B9-44E8-87E7-C51F526461C9}" destId="{F9B9DE28-3758-4DA5-A99F-72D8327D7103}" srcOrd="0" destOrd="0" presId="urn:microsoft.com/office/officeart/2005/8/layout/hierarchy4"/>
    <dgm:cxn modelId="{1AE51028-943F-4810-A16B-EABDB812BA0E}" type="presParOf" srcId="{F9B9DE28-3758-4DA5-A99F-72D8327D7103}" destId="{DD7B3FF2-6D51-46E7-8702-ACF4BFDE037B}" srcOrd="0" destOrd="0" presId="urn:microsoft.com/office/officeart/2005/8/layout/hierarchy4"/>
    <dgm:cxn modelId="{14B8B892-0309-4CD8-938A-5B4F0D6497F5}" type="presParOf" srcId="{F9B9DE28-3758-4DA5-A99F-72D8327D7103}" destId="{F05544AE-1146-4095-AA94-789B0F94A2F4}" srcOrd="1" destOrd="0" presId="urn:microsoft.com/office/officeart/2005/8/layout/hierarchy4"/>
    <dgm:cxn modelId="{0CE45C8E-8EDD-4495-8E05-BBF9AFF2816C}" type="presParOf" srcId="{F9B9DE28-3758-4DA5-A99F-72D8327D7103}" destId="{2CF70AEA-815A-4860-B659-3B7128754132}" srcOrd="2" destOrd="0" presId="urn:microsoft.com/office/officeart/2005/8/layout/hierarchy4"/>
    <dgm:cxn modelId="{6DF63E23-83DC-415E-B8A1-9A1BCDBC37B1}" type="presParOf" srcId="{2CF70AEA-815A-4860-B659-3B7128754132}" destId="{EAD8FDFE-33C1-46E0-A585-25929813C15A}" srcOrd="0" destOrd="0" presId="urn:microsoft.com/office/officeart/2005/8/layout/hierarchy4"/>
    <dgm:cxn modelId="{81EC9A7C-0334-4B19-9B0F-9852BF0713B1}" type="presParOf" srcId="{EAD8FDFE-33C1-46E0-A585-25929813C15A}" destId="{EAC88B17-2AD7-48CB-9BB3-850B5AC2C8C7}" srcOrd="0" destOrd="0" presId="urn:microsoft.com/office/officeart/2005/8/layout/hierarchy4"/>
    <dgm:cxn modelId="{B1FB3DF0-5418-4D5E-843B-87A0EAE9144A}" type="presParOf" srcId="{EAD8FDFE-33C1-46E0-A585-25929813C15A}" destId="{8F6D4E21-6581-4B2F-A498-5267749E1882}" srcOrd="1" destOrd="0" presId="urn:microsoft.com/office/officeart/2005/8/layout/hierarchy4"/>
    <dgm:cxn modelId="{E4A5BFB9-589D-4F89-8E5B-106555174698}" type="presParOf" srcId="{EAD8FDFE-33C1-46E0-A585-25929813C15A}" destId="{12EFB21E-F81B-4D68-AC4A-9ED6A726A51C}" srcOrd="2" destOrd="0" presId="urn:microsoft.com/office/officeart/2005/8/layout/hierarchy4"/>
    <dgm:cxn modelId="{1FD363B2-3ADB-4649-B0AE-588C2AA8616A}" type="presParOf" srcId="{12EFB21E-F81B-4D68-AC4A-9ED6A726A51C}" destId="{D5770D76-EAF7-4E26-806B-B8526E5D1ABB}" srcOrd="0" destOrd="0" presId="urn:microsoft.com/office/officeart/2005/8/layout/hierarchy4"/>
    <dgm:cxn modelId="{786698BB-60AD-47A7-B743-46167864B7FD}" type="presParOf" srcId="{D5770D76-EAF7-4E26-806B-B8526E5D1ABB}" destId="{141FA93A-0D1F-4AA1-BF78-516837CD84D8}" srcOrd="0" destOrd="0" presId="urn:microsoft.com/office/officeart/2005/8/layout/hierarchy4"/>
    <dgm:cxn modelId="{D855A01F-A0E9-41E4-B6CB-5D550A4A6F2C}" type="presParOf" srcId="{D5770D76-EAF7-4E26-806B-B8526E5D1ABB}" destId="{B5B50B97-785B-44E0-A777-C179BFA60374}" srcOrd="1" destOrd="0" presId="urn:microsoft.com/office/officeart/2005/8/layout/hierarchy4"/>
    <dgm:cxn modelId="{36DE7A2D-4038-4B20-988E-F7E5C240D281}" type="presParOf" srcId="{12EFB21E-F81B-4D68-AC4A-9ED6A726A51C}" destId="{5C902496-7E4B-4BD7-B92E-76B5E9CF3730}" srcOrd="1" destOrd="0" presId="urn:microsoft.com/office/officeart/2005/8/layout/hierarchy4"/>
    <dgm:cxn modelId="{B42C65E4-B513-4059-88B2-94182551EA76}" type="presParOf" srcId="{12EFB21E-F81B-4D68-AC4A-9ED6A726A51C}" destId="{CCB1C641-4403-4577-93DA-6D947CF74B9A}" srcOrd="2" destOrd="0" presId="urn:microsoft.com/office/officeart/2005/8/layout/hierarchy4"/>
    <dgm:cxn modelId="{047F2E0B-BE8D-4863-98F5-4DF2EA39948B}" type="presParOf" srcId="{CCB1C641-4403-4577-93DA-6D947CF74B9A}" destId="{986AC8BF-2F9A-4B23-A5D7-D30DC7F0BFF5}" srcOrd="0" destOrd="0" presId="urn:microsoft.com/office/officeart/2005/8/layout/hierarchy4"/>
    <dgm:cxn modelId="{9B2CCFAC-D300-447B-85E9-D6394DD24282}" type="presParOf" srcId="{CCB1C641-4403-4577-93DA-6D947CF74B9A}" destId="{A8388411-F7F4-4FEE-AEB3-D4C6085164C8}" srcOrd="1" destOrd="0" presId="urn:microsoft.com/office/officeart/2005/8/layout/hierarchy4"/>
    <dgm:cxn modelId="{FFCA4FB6-A60E-4425-B9B7-22D9F5094C00}" type="presParOf" srcId="{12EFB21E-F81B-4D68-AC4A-9ED6A726A51C}" destId="{A830928C-601B-40AD-905D-F41A92705E8F}" srcOrd="3" destOrd="0" presId="urn:microsoft.com/office/officeart/2005/8/layout/hierarchy4"/>
    <dgm:cxn modelId="{930AB65C-2429-442C-BDB9-F0E949EEF135}" type="presParOf" srcId="{12EFB21E-F81B-4D68-AC4A-9ED6A726A51C}" destId="{25FE78A8-ADE8-4FA1-97FA-D3A7F3F7C28C}" srcOrd="4" destOrd="0" presId="urn:microsoft.com/office/officeart/2005/8/layout/hierarchy4"/>
    <dgm:cxn modelId="{5731157B-9890-4D17-A926-27BB62EE7B40}" type="presParOf" srcId="{25FE78A8-ADE8-4FA1-97FA-D3A7F3F7C28C}" destId="{A77A5398-6145-4584-86F2-C10EFCFF1C10}" srcOrd="0" destOrd="0" presId="urn:microsoft.com/office/officeart/2005/8/layout/hierarchy4"/>
    <dgm:cxn modelId="{5CD989AB-49E1-404A-AAD7-29002CAD2F23}" type="presParOf" srcId="{25FE78A8-ADE8-4FA1-97FA-D3A7F3F7C28C}" destId="{B69CD468-BE6F-4742-BA2C-B765585D7797}" srcOrd="1" destOrd="0" presId="urn:microsoft.com/office/officeart/2005/8/layout/hierarchy4"/>
    <dgm:cxn modelId="{A2D49CD2-2B89-47A7-9622-DB46F303E405}" type="presParOf" srcId="{2CF70AEA-815A-4860-B659-3B7128754132}" destId="{BFC9ECCD-F01E-4B6C-B380-E885DF6A6B8A}" srcOrd="1" destOrd="0" presId="urn:microsoft.com/office/officeart/2005/8/layout/hierarchy4"/>
    <dgm:cxn modelId="{A92424B5-9C01-41F5-BF32-4F332FA1D57E}" type="presParOf" srcId="{2CF70AEA-815A-4860-B659-3B7128754132}" destId="{54337652-DA76-4222-934C-F193CED1AD3C}" srcOrd="2" destOrd="0" presId="urn:microsoft.com/office/officeart/2005/8/layout/hierarchy4"/>
    <dgm:cxn modelId="{AEBDC37A-9CC6-459E-A107-6689F497703D}" type="presParOf" srcId="{54337652-DA76-4222-934C-F193CED1AD3C}" destId="{0EB3ACD7-8F8D-45EA-93D2-745D621B636F}" srcOrd="0" destOrd="0" presId="urn:microsoft.com/office/officeart/2005/8/layout/hierarchy4"/>
    <dgm:cxn modelId="{B0835624-AD37-41F9-A687-118EC1C5B116}" type="presParOf" srcId="{54337652-DA76-4222-934C-F193CED1AD3C}" destId="{11C74231-519D-4690-9059-FDEB2874A185}" srcOrd="1" destOrd="0" presId="urn:microsoft.com/office/officeart/2005/8/layout/hierarchy4"/>
    <dgm:cxn modelId="{FDA46D9B-4C30-42CD-B1E6-B7B6DEECF493}" type="presParOf" srcId="{54337652-DA76-4222-934C-F193CED1AD3C}" destId="{4C3AA1E6-2B51-426D-A881-071D8B73742B}" srcOrd="2" destOrd="0" presId="urn:microsoft.com/office/officeart/2005/8/layout/hierarchy4"/>
    <dgm:cxn modelId="{DF6C23A8-B408-48A7-B1B0-14B9B610A7F3}" type="presParOf" srcId="{4C3AA1E6-2B51-426D-A881-071D8B73742B}" destId="{9404137E-95BA-4086-9B44-DF500EDE58F4}" srcOrd="0" destOrd="0" presId="urn:microsoft.com/office/officeart/2005/8/layout/hierarchy4"/>
    <dgm:cxn modelId="{93ADE529-5AE8-4E3C-9A57-E571C6D53F56}" type="presParOf" srcId="{9404137E-95BA-4086-9B44-DF500EDE58F4}" destId="{463B5D90-EF65-4292-B6D0-19F1FF5730FE}" srcOrd="0" destOrd="0" presId="urn:microsoft.com/office/officeart/2005/8/layout/hierarchy4"/>
    <dgm:cxn modelId="{5E231884-9AEF-4EF4-8E46-3A2E2F1739B5}" type="presParOf" srcId="{9404137E-95BA-4086-9B44-DF500EDE58F4}" destId="{5FFD976D-7440-40DE-86D7-386C44819DDF}" srcOrd="1" destOrd="0" presId="urn:microsoft.com/office/officeart/2005/8/layout/hierarchy4"/>
    <dgm:cxn modelId="{635B583B-7BAF-4C30-A142-8B6D37426C05}" type="presParOf" srcId="{4C3AA1E6-2B51-426D-A881-071D8B73742B}" destId="{A94597D2-01B3-422D-AC5A-047990636F6F}" srcOrd="1" destOrd="0" presId="urn:microsoft.com/office/officeart/2005/8/layout/hierarchy4"/>
    <dgm:cxn modelId="{DF83B7A5-BEB3-4A94-924F-599E7F2DE88D}" type="presParOf" srcId="{4C3AA1E6-2B51-426D-A881-071D8B73742B}" destId="{182505A6-DCFE-4D89-8CAA-F222C3E6010A}" srcOrd="2" destOrd="0" presId="urn:microsoft.com/office/officeart/2005/8/layout/hierarchy4"/>
    <dgm:cxn modelId="{AF16BCC4-D939-4E3E-AE53-C0AAFBD3941B}" type="presParOf" srcId="{182505A6-DCFE-4D89-8CAA-F222C3E6010A}" destId="{FFD03D75-0894-448D-832D-413194FA489A}" srcOrd="0" destOrd="0" presId="urn:microsoft.com/office/officeart/2005/8/layout/hierarchy4"/>
    <dgm:cxn modelId="{C86F4964-C800-40CA-8B73-392CE5264E3A}" type="presParOf" srcId="{182505A6-DCFE-4D89-8CAA-F222C3E6010A}" destId="{8FB31E51-8F8C-40D6-9EEB-F779F45D089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9FE98E-5A97-4024-AB55-2D482BD49885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D4E4B0C8-919D-415C-926C-F15597AA85D0}">
      <dgm:prSet/>
      <dgm:spPr/>
      <dgm:t>
        <a:bodyPr/>
        <a:lstStyle/>
        <a:p>
          <a:r>
            <a:rPr lang="en-GB"/>
            <a:t>What worked well?</a:t>
          </a:r>
          <a:endParaRPr lang="en-US"/>
        </a:p>
      </dgm:t>
    </dgm:pt>
    <dgm:pt modelId="{534F948E-B14C-4AAC-B4BC-1087E17A54E5}" type="parTrans" cxnId="{2DE1410B-ABF4-4F5D-A623-760400A870C3}">
      <dgm:prSet/>
      <dgm:spPr/>
      <dgm:t>
        <a:bodyPr/>
        <a:lstStyle/>
        <a:p>
          <a:endParaRPr lang="en-US"/>
        </a:p>
      </dgm:t>
    </dgm:pt>
    <dgm:pt modelId="{4AF9CF07-3165-4E6D-BD86-4F6C33C790B5}" type="sibTrans" cxnId="{2DE1410B-ABF4-4F5D-A623-760400A870C3}">
      <dgm:prSet/>
      <dgm:spPr/>
      <dgm:t>
        <a:bodyPr/>
        <a:lstStyle/>
        <a:p>
          <a:endParaRPr lang="en-US"/>
        </a:p>
      </dgm:t>
    </dgm:pt>
    <dgm:pt modelId="{448FD063-7090-4ECE-A3D9-D9EB4E8CC4D4}">
      <dgm:prSet/>
      <dgm:spPr/>
      <dgm:t>
        <a:bodyPr/>
        <a:lstStyle/>
        <a:p>
          <a:r>
            <a:rPr lang="en-GB"/>
            <a:t>How can this be used in practice?</a:t>
          </a:r>
          <a:endParaRPr lang="en-US"/>
        </a:p>
      </dgm:t>
    </dgm:pt>
    <dgm:pt modelId="{CCBC6767-848B-41B1-B6B1-DAA0B25124E0}" type="parTrans" cxnId="{92319D2B-F11A-49F4-A88E-D61F9520DDC4}">
      <dgm:prSet/>
      <dgm:spPr/>
      <dgm:t>
        <a:bodyPr/>
        <a:lstStyle/>
        <a:p>
          <a:endParaRPr lang="en-US"/>
        </a:p>
      </dgm:t>
    </dgm:pt>
    <dgm:pt modelId="{D00657C4-F866-4519-ABD0-EFA5EF93E032}" type="sibTrans" cxnId="{92319D2B-F11A-49F4-A88E-D61F9520DDC4}">
      <dgm:prSet/>
      <dgm:spPr/>
      <dgm:t>
        <a:bodyPr/>
        <a:lstStyle/>
        <a:p>
          <a:endParaRPr lang="en-US"/>
        </a:p>
      </dgm:t>
    </dgm:pt>
    <dgm:pt modelId="{6C9DB1C6-7AD4-42A7-A315-DF74579723E9}">
      <dgm:prSet/>
      <dgm:spPr/>
      <dgm:t>
        <a:bodyPr/>
        <a:lstStyle/>
        <a:p>
          <a:r>
            <a:rPr lang="en-GB"/>
            <a:t>How can this be scaled?</a:t>
          </a:r>
          <a:endParaRPr lang="en-US"/>
        </a:p>
      </dgm:t>
    </dgm:pt>
    <dgm:pt modelId="{9694EAAD-1CB9-4D22-AE79-C8BA2055EE3F}" type="parTrans" cxnId="{FF062A68-CD7B-4385-A20B-BCEE90FB32F0}">
      <dgm:prSet/>
      <dgm:spPr/>
      <dgm:t>
        <a:bodyPr/>
        <a:lstStyle/>
        <a:p>
          <a:endParaRPr lang="en-US"/>
        </a:p>
      </dgm:t>
    </dgm:pt>
    <dgm:pt modelId="{E3D5EFB8-3219-48FF-95FC-9E6FF359066D}" type="sibTrans" cxnId="{FF062A68-CD7B-4385-A20B-BCEE90FB32F0}">
      <dgm:prSet/>
      <dgm:spPr/>
      <dgm:t>
        <a:bodyPr/>
        <a:lstStyle/>
        <a:p>
          <a:endParaRPr lang="en-US"/>
        </a:p>
      </dgm:t>
    </dgm:pt>
    <dgm:pt modelId="{B52031F9-C1CF-462F-8E0E-83F0D8FF31F2}" type="pres">
      <dgm:prSet presAssocID="{099FE98E-5A97-4024-AB55-2D482BD49885}" presName="linear" presStyleCnt="0">
        <dgm:presLayoutVars>
          <dgm:animLvl val="lvl"/>
          <dgm:resizeHandles val="exact"/>
        </dgm:presLayoutVars>
      </dgm:prSet>
      <dgm:spPr/>
    </dgm:pt>
    <dgm:pt modelId="{1B78115A-4696-4898-BD42-606E9BE4F3DB}" type="pres">
      <dgm:prSet presAssocID="{D4E4B0C8-919D-415C-926C-F15597AA85D0}" presName="parentText" presStyleLbl="node1" presStyleIdx="0" presStyleCnt="3" custLinFactNeighborX="-112">
        <dgm:presLayoutVars>
          <dgm:chMax val="0"/>
          <dgm:bulletEnabled val="1"/>
        </dgm:presLayoutVars>
      </dgm:prSet>
      <dgm:spPr/>
    </dgm:pt>
    <dgm:pt modelId="{D047C057-37A3-480E-8D63-B2EA1811F98E}" type="pres">
      <dgm:prSet presAssocID="{4AF9CF07-3165-4E6D-BD86-4F6C33C790B5}" presName="spacer" presStyleCnt="0"/>
      <dgm:spPr/>
    </dgm:pt>
    <dgm:pt modelId="{EB2720A3-E440-420F-AFEE-63057EDA285F}" type="pres">
      <dgm:prSet presAssocID="{448FD063-7090-4ECE-A3D9-D9EB4E8CC4D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4846CA-49B6-4E3C-877C-184CA3836CC7}" type="pres">
      <dgm:prSet presAssocID="{D00657C4-F866-4519-ABD0-EFA5EF93E032}" presName="spacer" presStyleCnt="0"/>
      <dgm:spPr/>
    </dgm:pt>
    <dgm:pt modelId="{1555B4A0-EEFB-4842-9322-7829F433A15F}" type="pres">
      <dgm:prSet presAssocID="{6C9DB1C6-7AD4-42A7-A315-DF74579723E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2DE1410B-ABF4-4F5D-A623-760400A870C3}" srcId="{099FE98E-5A97-4024-AB55-2D482BD49885}" destId="{D4E4B0C8-919D-415C-926C-F15597AA85D0}" srcOrd="0" destOrd="0" parTransId="{534F948E-B14C-4AAC-B4BC-1087E17A54E5}" sibTransId="{4AF9CF07-3165-4E6D-BD86-4F6C33C790B5}"/>
    <dgm:cxn modelId="{F953A828-B6F0-4C0B-B120-FE6452BDD611}" type="presOf" srcId="{6C9DB1C6-7AD4-42A7-A315-DF74579723E9}" destId="{1555B4A0-EEFB-4842-9322-7829F433A15F}" srcOrd="0" destOrd="0" presId="urn:microsoft.com/office/officeart/2005/8/layout/vList2"/>
    <dgm:cxn modelId="{92319D2B-F11A-49F4-A88E-D61F9520DDC4}" srcId="{099FE98E-5A97-4024-AB55-2D482BD49885}" destId="{448FD063-7090-4ECE-A3D9-D9EB4E8CC4D4}" srcOrd="1" destOrd="0" parTransId="{CCBC6767-848B-41B1-B6B1-DAA0B25124E0}" sibTransId="{D00657C4-F866-4519-ABD0-EFA5EF93E032}"/>
    <dgm:cxn modelId="{FF062A68-CD7B-4385-A20B-BCEE90FB32F0}" srcId="{099FE98E-5A97-4024-AB55-2D482BD49885}" destId="{6C9DB1C6-7AD4-42A7-A315-DF74579723E9}" srcOrd="2" destOrd="0" parTransId="{9694EAAD-1CB9-4D22-AE79-C8BA2055EE3F}" sibTransId="{E3D5EFB8-3219-48FF-95FC-9E6FF359066D}"/>
    <dgm:cxn modelId="{F0B1B6BA-FBCD-4126-8A88-E7D83C80EBB0}" type="presOf" srcId="{099FE98E-5A97-4024-AB55-2D482BD49885}" destId="{B52031F9-C1CF-462F-8E0E-83F0D8FF31F2}" srcOrd="0" destOrd="0" presId="urn:microsoft.com/office/officeart/2005/8/layout/vList2"/>
    <dgm:cxn modelId="{44C0C6C8-CC12-4CC4-85A7-114559687FAD}" type="presOf" srcId="{448FD063-7090-4ECE-A3D9-D9EB4E8CC4D4}" destId="{EB2720A3-E440-420F-AFEE-63057EDA285F}" srcOrd="0" destOrd="0" presId="urn:microsoft.com/office/officeart/2005/8/layout/vList2"/>
    <dgm:cxn modelId="{C4425EE5-7B4F-46D7-82D6-EA46953ADD17}" type="presOf" srcId="{D4E4B0C8-919D-415C-926C-F15597AA85D0}" destId="{1B78115A-4696-4898-BD42-606E9BE4F3DB}" srcOrd="0" destOrd="0" presId="urn:microsoft.com/office/officeart/2005/8/layout/vList2"/>
    <dgm:cxn modelId="{CD8C58A1-844F-4A94-9370-131314FF9669}" type="presParOf" srcId="{B52031F9-C1CF-462F-8E0E-83F0D8FF31F2}" destId="{1B78115A-4696-4898-BD42-606E9BE4F3DB}" srcOrd="0" destOrd="0" presId="urn:microsoft.com/office/officeart/2005/8/layout/vList2"/>
    <dgm:cxn modelId="{51C19340-03D2-47F0-9CE3-9330C710F32B}" type="presParOf" srcId="{B52031F9-C1CF-462F-8E0E-83F0D8FF31F2}" destId="{D047C057-37A3-480E-8D63-B2EA1811F98E}" srcOrd="1" destOrd="0" presId="urn:microsoft.com/office/officeart/2005/8/layout/vList2"/>
    <dgm:cxn modelId="{998AA41A-F622-4ECD-923B-20E2909A0B2A}" type="presParOf" srcId="{B52031F9-C1CF-462F-8E0E-83F0D8FF31F2}" destId="{EB2720A3-E440-420F-AFEE-63057EDA285F}" srcOrd="2" destOrd="0" presId="urn:microsoft.com/office/officeart/2005/8/layout/vList2"/>
    <dgm:cxn modelId="{8A11ED8E-5228-434F-B8BA-785FDB18E73C}" type="presParOf" srcId="{B52031F9-C1CF-462F-8E0E-83F0D8FF31F2}" destId="{8D4846CA-49B6-4E3C-877C-184CA3836CC7}" srcOrd="3" destOrd="0" presId="urn:microsoft.com/office/officeart/2005/8/layout/vList2"/>
    <dgm:cxn modelId="{04F8FA1A-702D-4045-8B25-0EA8B32C69DD}" type="presParOf" srcId="{B52031F9-C1CF-462F-8E0E-83F0D8FF31F2}" destId="{1555B4A0-EEFB-4842-9322-7829F433A15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99FE98E-5A97-4024-AB55-2D482BD49885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4E4B0C8-919D-415C-926C-F15597AA85D0}">
      <dgm:prSet/>
      <dgm:spPr/>
      <dgm:t>
        <a:bodyPr/>
        <a:lstStyle/>
        <a:p>
          <a:r>
            <a:rPr lang="en-GB"/>
            <a:t>What didn’t work?</a:t>
          </a:r>
          <a:endParaRPr lang="en-US"/>
        </a:p>
      </dgm:t>
    </dgm:pt>
    <dgm:pt modelId="{534F948E-B14C-4AAC-B4BC-1087E17A54E5}" type="parTrans" cxnId="{2DE1410B-ABF4-4F5D-A623-760400A870C3}">
      <dgm:prSet/>
      <dgm:spPr/>
      <dgm:t>
        <a:bodyPr/>
        <a:lstStyle/>
        <a:p>
          <a:endParaRPr lang="en-US"/>
        </a:p>
      </dgm:t>
    </dgm:pt>
    <dgm:pt modelId="{4AF9CF07-3165-4E6D-BD86-4F6C33C790B5}" type="sibTrans" cxnId="{2DE1410B-ABF4-4F5D-A623-760400A870C3}">
      <dgm:prSet/>
      <dgm:spPr/>
      <dgm:t>
        <a:bodyPr/>
        <a:lstStyle/>
        <a:p>
          <a:endParaRPr lang="en-US"/>
        </a:p>
      </dgm:t>
    </dgm:pt>
    <dgm:pt modelId="{448FD063-7090-4ECE-A3D9-D9EB4E8CC4D4}">
      <dgm:prSet/>
      <dgm:spPr/>
      <dgm:t>
        <a:bodyPr/>
        <a:lstStyle/>
        <a:p>
          <a:r>
            <a:rPr lang="en-GB"/>
            <a:t>Gotchas / caution points</a:t>
          </a:r>
          <a:endParaRPr lang="en-US"/>
        </a:p>
      </dgm:t>
    </dgm:pt>
    <dgm:pt modelId="{CCBC6767-848B-41B1-B6B1-DAA0B25124E0}" type="parTrans" cxnId="{92319D2B-F11A-49F4-A88E-D61F9520DDC4}">
      <dgm:prSet/>
      <dgm:spPr/>
      <dgm:t>
        <a:bodyPr/>
        <a:lstStyle/>
        <a:p>
          <a:endParaRPr lang="en-US"/>
        </a:p>
      </dgm:t>
    </dgm:pt>
    <dgm:pt modelId="{D00657C4-F866-4519-ABD0-EFA5EF93E032}" type="sibTrans" cxnId="{92319D2B-F11A-49F4-A88E-D61F9520DDC4}">
      <dgm:prSet/>
      <dgm:spPr/>
      <dgm:t>
        <a:bodyPr/>
        <a:lstStyle/>
        <a:p>
          <a:endParaRPr lang="en-US"/>
        </a:p>
      </dgm:t>
    </dgm:pt>
    <dgm:pt modelId="{6C9DB1C6-7AD4-42A7-A315-DF74579723E9}">
      <dgm:prSet/>
      <dgm:spPr/>
      <dgm:t>
        <a:bodyPr/>
        <a:lstStyle/>
        <a:p>
          <a:r>
            <a:rPr lang="en-GB"/>
            <a:t>Areas for enhancement</a:t>
          </a:r>
          <a:endParaRPr lang="en-US"/>
        </a:p>
      </dgm:t>
    </dgm:pt>
    <dgm:pt modelId="{9694EAAD-1CB9-4D22-AE79-C8BA2055EE3F}" type="parTrans" cxnId="{FF062A68-CD7B-4385-A20B-BCEE90FB32F0}">
      <dgm:prSet/>
      <dgm:spPr/>
      <dgm:t>
        <a:bodyPr/>
        <a:lstStyle/>
        <a:p>
          <a:endParaRPr lang="en-US"/>
        </a:p>
      </dgm:t>
    </dgm:pt>
    <dgm:pt modelId="{E3D5EFB8-3219-48FF-95FC-9E6FF359066D}" type="sibTrans" cxnId="{FF062A68-CD7B-4385-A20B-BCEE90FB32F0}">
      <dgm:prSet/>
      <dgm:spPr/>
      <dgm:t>
        <a:bodyPr/>
        <a:lstStyle/>
        <a:p>
          <a:endParaRPr lang="en-US"/>
        </a:p>
      </dgm:t>
    </dgm:pt>
    <dgm:pt modelId="{B52031F9-C1CF-462F-8E0E-83F0D8FF31F2}" type="pres">
      <dgm:prSet presAssocID="{099FE98E-5A97-4024-AB55-2D482BD49885}" presName="linear" presStyleCnt="0">
        <dgm:presLayoutVars>
          <dgm:animLvl val="lvl"/>
          <dgm:resizeHandles val="exact"/>
        </dgm:presLayoutVars>
      </dgm:prSet>
      <dgm:spPr/>
    </dgm:pt>
    <dgm:pt modelId="{1B78115A-4696-4898-BD42-606E9BE4F3DB}" type="pres">
      <dgm:prSet presAssocID="{D4E4B0C8-919D-415C-926C-F15597AA85D0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047C057-37A3-480E-8D63-B2EA1811F98E}" type="pres">
      <dgm:prSet presAssocID="{4AF9CF07-3165-4E6D-BD86-4F6C33C790B5}" presName="spacer" presStyleCnt="0"/>
      <dgm:spPr/>
    </dgm:pt>
    <dgm:pt modelId="{EB2720A3-E440-420F-AFEE-63057EDA285F}" type="pres">
      <dgm:prSet presAssocID="{448FD063-7090-4ECE-A3D9-D9EB4E8CC4D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4846CA-49B6-4E3C-877C-184CA3836CC7}" type="pres">
      <dgm:prSet presAssocID="{D00657C4-F866-4519-ABD0-EFA5EF93E032}" presName="spacer" presStyleCnt="0"/>
      <dgm:spPr/>
    </dgm:pt>
    <dgm:pt modelId="{1555B4A0-EEFB-4842-9322-7829F433A15F}" type="pres">
      <dgm:prSet presAssocID="{6C9DB1C6-7AD4-42A7-A315-DF74579723E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2DE1410B-ABF4-4F5D-A623-760400A870C3}" srcId="{099FE98E-5A97-4024-AB55-2D482BD49885}" destId="{D4E4B0C8-919D-415C-926C-F15597AA85D0}" srcOrd="0" destOrd="0" parTransId="{534F948E-B14C-4AAC-B4BC-1087E17A54E5}" sibTransId="{4AF9CF07-3165-4E6D-BD86-4F6C33C790B5}"/>
    <dgm:cxn modelId="{F953A828-B6F0-4C0B-B120-FE6452BDD611}" type="presOf" srcId="{6C9DB1C6-7AD4-42A7-A315-DF74579723E9}" destId="{1555B4A0-EEFB-4842-9322-7829F433A15F}" srcOrd="0" destOrd="0" presId="urn:microsoft.com/office/officeart/2005/8/layout/vList2"/>
    <dgm:cxn modelId="{92319D2B-F11A-49F4-A88E-D61F9520DDC4}" srcId="{099FE98E-5A97-4024-AB55-2D482BD49885}" destId="{448FD063-7090-4ECE-A3D9-D9EB4E8CC4D4}" srcOrd="1" destOrd="0" parTransId="{CCBC6767-848B-41B1-B6B1-DAA0B25124E0}" sibTransId="{D00657C4-F866-4519-ABD0-EFA5EF93E032}"/>
    <dgm:cxn modelId="{FF062A68-CD7B-4385-A20B-BCEE90FB32F0}" srcId="{099FE98E-5A97-4024-AB55-2D482BD49885}" destId="{6C9DB1C6-7AD4-42A7-A315-DF74579723E9}" srcOrd="2" destOrd="0" parTransId="{9694EAAD-1CB9-4D22-AE79-C8BA2055EE3F}" sibTransId="{E3D5EFB8-3219-48FF-95FC-9E6FF359066D}"/>
    <dgm:cxn modelId="{F0B1B6BA-FBCD-4126-8A88-E7D83C80EBB0}" type="presOf" srcId="{099FE98E-5A97-4024-AB55-2D482BD49885}" destId="{B52031F9-C1CF-462F-8E0E-83F0D8FF31F2}" srcOrd="0" destOrd="0" presId="urn:microsoft.com/office/officeart/2005/8/layout/vList2"/>
    <dgm:cxn modelId="{44C0C6C8-CC12-4CC4-85A7-114559687FAD}" type="presOf" srcId="{448FD063-7090-4ECE-A3D9-D9EB4E8CC4D4}" destId="{EB2720A3-E440-420F-AFEE-63057EDA285F}" srcOrd="0" destOrd="0" presId="urn:microsoft.com/office/officeart/2005/8/layout/vList2"/>
    <dgm:cxn modelId="{C4425EE5-7B4F-46D7-82D6-EA46953ADD17}" type="presOf" srcId="{D4E4B0C8-919D-415C-926C-F15597AA85D0}" destId="{1B78115A-4696-4898-BD42-606E9BE4F3DB}" srcOrd="0" destOrd="0" presId="urn:microsoft.com/office/officeart/2005/8/layout/vList2"/>
    <dgm:cxn modelId="{CD8C58A1-844F-4A94-9370-131314FF9669}" type="presParOf" srcId="{B52031F9-C1CF-462F-8E0E-83F0D8FF31F2}" destId="{1B78115A-4696-4898-BD42-606E9BE4F3DB}" srcOrd="0" destOrd="0" presId="urn:microsoft.com/office/officeart/2005/8/layout/vList2"/>
    <dgm:cxn modelId="{51C19340-03D2-47F0-9CE3-9330C710F32B}" type="presParOf" srcId="{B52031F9-C1CF-462F-8E0E-83F0D8FF31F2}" destId="{D047C057-37A3-480E-8D63-B2EA1811F98E}" srcOrd="1" destOrd="0" presId="urn:microsoft.com/office/officeart/2005/8/layout/vList2"/>
    <dgm:cxn modelId="{998AA41A-F622-4ECD-923B-20E2909A0B2A}" type="presParOf" srcId="{B52031F9-C1CF-462F-8E0E-83F0D8FF31F2}" destId="{EB2720A3-E440-420F-AFEE-63057EDA285F}" srcOrd="2" destOrd="0" presId="urn:microsoft.com/office/officeart/2005/8/layout/vList2"/>
    <dgm:cxn modelId="{8A11ED8E-5228-434F-B8BA-785FDB18E73C}" type="presParOf" srcId="{B52031F9-C1CF-462F-8E0E-83F0D8FF31F2}" destId="{8D4846CA-49B6-4E3C-877C-184CA3836CC7}" srcOrd="3" destOrd="0" presId="urn:microsoft.com/office/officeart/2005/8/layout/vList2"/>
    <dgm:cxn modelId="{04F8FA1A-702D-4045-8B25-0EA8B32C69DD}" type="presParOf" srcId="{B52031F9-C1CF-462F-8E0E-83F0D8FF31F2}" destId="{1555B4A0-EEFB-4842-9322-7829F433A15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7B3FF2-6D51-46E7-8702-ACF4BFDE037B}">
      <dsp:nvSpPr>
        <dsp:cNvPr id="0" name=""/>
        <dsp:cNvSpPr/>
      </dsp:nvSpPr>
      <dsp:spPr>
        <a:xfrm>
          <a:off x="0" y="78480"/>
          <a:ext cx="8183547" cy="1543998"/>
        </a:xfrm>
        <a:prstGeom prst="roundRect">
          <a:avLst>
            <a:gd name="adj" fmla="val 10000"/>
          </a:avLst>
        </a:prstGeom>
        <a:solidFill>
          <a:srgbClr val="6973C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ROI / Payback of addressing tech debt</a:t>
          </a:r>
        </a:p>
      </dsp:txBody>
      <dsp:txXfrm>
        <a:off x="45222" y="123702"/>
        <a:ext cx="8093103" cy="1453554"/>
      </dsp:txXfrm>
    </dsp:sp>
    <dsp:sp modelId="{EAC88B17-2AD7-48CB-9BB3-850B5AC2C8C7}">
      <dsp:nvSpPr>
        <dsp:cNvPr id="0" name=""/>
        <dsp:cNvSpPr/>
      </dsp:nvSpPr>
      <dsp:spPr>
        <a:xfrm>
          <a:off x="939" y="1690702"/>
          <a:ext cx="4844157" cy="1543998"/>
        </a:xfrm>
        <a:prstGeom prst="roundRect">
          <a:avLst>
            <a:gd name="adj" fmla="val 10000"/>
          </a:avLst>
        </a:prstGeom>
        <a:solidFill>
          <a:srgbClr val="009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900" kern="1200"/>
            <a:t>Measurable benefits translated to EBITDA impact</a:t>
          </a:r>
        </a:p>
      </dsp:txBody>
      <dsp:txXfrm>
        <a:off x="46161" y="1735924"/>
        <a:ext cx="4753713" cy="1453554"/>
      </dsp:txXfrm>
    </dsp:sp>
    <dsp:sp modelId="{141FA93A-0D1F-4AA1-BF78-516837CD84D8}">
      <dsp:nvSpPr>
        <dsp:cNvPr id="0" name=""/>
        <dsp:cNvSpPr/>
      </dsp:nvSpPr>
      <dsp:spPr>
        <a:xfrm>
          <a:off x="939" y="3301857"/>
          <a:ext cx="1570738" cy="1543998"/>
        </a:xfrm>
        <a:prstGeom prst="roundRect">
          <a:avLst>
            <a:gd name="adj" fmla="val 10000"/>
          </a:avLst>
        </a:prstGeom>
        <a:solidFill>
          <a:srgbClr val="009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Reduced hosting costs </a:t>
          </a:r>
        </a:p>
      </dsp:txBody>
      <dsp:txXfrm>
        <a:off x="46161" y="3347079"/>
        <a:ext cx="1480294" cy="1453554"/>
      </dsp:txXfrm>
    </dsp:sp>
    <dsp:sp modelId="{986AC8BF-2F9A-4B23-A5D7-D30DC7F0BFF5}">
      <dsp:nvSpPr>
        <dsp:cNvPr id="0" name=""/>
        <dsp:cNvSpPr/>
      </dsp:nvSpPr>
      <dsp:spPr>
        <a:xfrm>
          <a:off x="1637648" y="3301857"/>
          <a:ext cx="1570738" cy="1543998"/>
        </a:xfrm>
        <a:prstGeom prst="roundRect">
          <a:avLst>
            <a:gd name="adj" fmla="val 10000"/>
          </a:avLst>
        </a:prstGeom>
        <a:solidFill>
          <a:srgbClr val="009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Avoided costs on technical operations and support teams</a:t>
          </a:r>
        </a:p>
      </dsp:txBody>
      <dsp:txXfrm>
        <a:off x="1682870" y="3347079"/>
        <a:ext cx="1480294" cy="1453554"/>
      </dsp:txXfrm>
    </dsp:sp>
    <dsp:sp modelId="{A77A5398-6145-4584-86F2-C10EFCFF1C10}">
      <dsp:nvSpPr>
        <dsp:cNvPr id="0" name=""/>
        <dsp:cNvSpPr/>
      </dsp:nvSpPr>
      <dsp:spPr>
        <a:xfrm>
          <a:off x="3274358" y="3298846"/>
          <a:ext cx="1570738" cy="1543998"/>
        </a:xfrm>
        <a:prstGeom prst="roundRect">
          <a:avLst>
            <a:gd name="adj" fmla="val 10000"/>
          </a:avLst>
        </a:prstGeom>
        <a:solidFill>
          <a:srgbClr val="0096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Improved R&amp;D productivity -&gt; reduced R&amp;D costs or increased revenue with existing team</a:t>
          </a:r>
        </a:p>
      </dsp:txBody>
      <dsp:txXfrm>
        <a:off x="3319580" y="3344068"/>
        <a:ext cx="1480294" cy="1453554"/>
      </dsp:txXfrm>
    </dsp:sp>
    <dsp:sp modelId="{0EB3ACD7-8F8D-45EA-93D2-745D621B636F}">
      <dsp:nvSpPr>
        <dsp:cNvPr id="0" name=""/>
        <dsp:cNvSpPr/>
      </dsp:nvSpPr>
      <dsp:spPr>
        <a:xfrm>
          <a:off x="4977038" y="1690702"/>
          <a:ext cx="3207447" cy="15439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900" kern="1200"/>
            <a:t>Cost of addressing tech debt</a:t>
          </a:r>
        </a:p>
      </dsp:txBody>
      <dsp:txXfrm>
        <a:off x="5022260" y="1735924"/>
        <a:ext cx="3117003" cy="1453554"/>
      </dsp:txXfrm>
    </dsp:sp>
    <dsp:sp modelId="{463B5D90-EF65-4292-B6D0-19F1FF5730FE}">
      <dsp:nvSpPr>
        <dsp:cNvPr id="0" name=""/>
        <dsp:cNvSpPr/>
      </dsp:nvSpPr>
      <dsp:spPr>
        <a:xfrm>
          <a:off x="4977038" y="3298846"/>
          <a:ext cx="1570738" cy="15439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One-off development cost</a:t>
          </a:r>
        </a:p>
      </dsp:txBody>
      <dsp:txXfrm>
        <a:off x="5022260" y="3344068"/>
        <a:ext cx="1480294" cy="1453554"/>
      </dsp:txXfrm>
    </dsp:sp>
    <dsp:sp modelId="{FFD03D75-0894-448D-832D-413194FA489A}">
      <dsp:nvSpPr>
        <dsp:cNvPr id="0" name=""/>
        <dsp:cNvSpPr/>
      </dsp:nvSpPr>
      <dsp:spPr>
        <a:xfrm>
          <a:off x="6613748" y="3298846"/>
          <a:ext cx="1570738" cy="1543998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Potential to reduce dev cost with AI tooling</a:t>
          </a:r>
        </a:p>
      </dsp:txBody>
      <dsp:txXfrm>
        <a:off x="6658970" y="3344068"/>
        <a:ext cx="1480294" cy="14535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78115A-4696-4898-BD42-606E9BE4F3DB}">
      <dsp:nvSpPr>
        <dsp:cNvPr id="0" name=""/>
        <dsp:cNvSpPr/>
      </dsp:nvSpPr>
      <dsp:spPr>
        <a:xfrm>
          <a:off x="0" y="11206"/>
          <a:ext cx="5664200" cy="14698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/>
            <a:t>What worked well?</a:t>
          </a:r>
          <a:endParaRPr lang="en-US" sz="3700" kern="1200"/>
        </a:p>
      </dsp:txBody>
      <dsp:txXfrm>
        <a:off x="71751" y="82957"/>
        <a:ext cx="5520698" cy="1326328"/>
      </dsp:txXfrm>
    </dsp:sp>
    <dsp:sp modelId="{EB2720A3-E440-420F-AFEE-63057EDA285F}">
      <dsp:nvSpPr>
        <dsp:cNvPr id="0" name=""/>
        <dsp:cNvSpPr/>
      </dsp:nvSpPr>
      <dsp:spPr>
        <a:xfrm>
          <a:off x="0" y="1587597"/>
          <a:ext cx="5664200" cy="14698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/>
            <a:t>How can this be used in practice?</a:t>
          </a:r>
          <a:endParaRPr lang="en-US" sz="3700" kern="1200"/>
        </a:p>
      </dsp:txBody>
      <dsp:txXfrm>
        <a:off x="71751" y="1659348"/>
        <a:ext cx="5520698" cy="1326328"/>
      </dsp:txXfrm>
    </dsp:sp>
    <dsp:sp modelId="{1555B4A0-EEFB-4842-9322-7829F433A15F}">
      <dsp:nvSpPr>
        <dsp:cNvPr id="0" name=""/>
        <dsp:cNvSpPr/>
      </dsp:nvSpPr>
      <dsp:spPr>
        <a:xfrm>
          <a:off x="0" y="3163987"/>
          <a:ext cx="5664200" cy="14698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/>
            <a:t>How can this be scaled?</a:t>
          </a:r>
          <a:endParaRPr lang="en-US" sz="3700" kern="1200"/>
        </a:p>
      </dsp:txBody>
      <dsp:txXfrm>
        <a:off x="71751" y="3235738"/>
        <a:ext cx="5520698" cy="132632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78115A-4696-4898-BD42-606E9BE4F3DB}">
      <dsp:nvSpPr>
        <dsp:cNvPr id="0" name=""/>
        <dsp:cNvSpPr/>
      </dsp:nvSpPr>
      <dsp:spPr>
        <a:xfrm>
          <a:off x="0" y="11453"/>
          <a:ext cx="5661136" cy="15095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What didn’t work?</a:t>
          </a:r>
          <a:endParaRPr lang="en-US" sz="3800" kern="1200"/>
        </a:p>
      </dsp:txBody>
      <dsp:txXfrm>
        <a:off x="73690" y="85143"/>
        <a:ext cx="5513756" cy="1362175"/>
      </dsp:txXfrm>
    </dsp:sp>
    <dsp:sp modelId="{EB2720A3-E440-420F-AFEE-63057EDA285F}">
      <dsp:nvSpPr>
        <dsp:cNvPr id="0" name=""/>
        <dsp:cNvSpPr/>
      </dsp:nvSpPr>
      <dsp:spPr>
        <a:xfrm>
          <a:off x="0" y="1630449"/>
          <a:ext cx="5661136" cy="15095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Gotchas / caution points</a:t>
          </a:r>
          <a:endParaRPr lang="en-US" sz="3800" kern="1200"/>
        </a:p>
      </dsp:txBody>
      <dsp:txXfrm>
        <a:off x="73690" y="1704139"/>
        <a:ext cx="5513756" cy="1362175"/>
      </dsp:txXfrm>
    </dsp:sp>
    <dsp:sp modelId="{1555B4A0-EEFB-4842-9322-7829F433A15F}">
      <dsp:nvSpPr>
        <dsp:cNvPr id="0" name=""/>
        <dsp:cNvSpPr/>
      </dsp:nvSpPr>
      <dsp:spPr>
        <a:xfrm>
          <a:off x="0" y="3249444"/>
          <a:ext cx="5661136" cy="15095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Areas for enhancement</a:t>
          </a:r>
          <a:endParaRPr lang="en-US" sz="3800" kern="1200"/>
        </a:p>
      </dsp:txBody>
      <dsp:txXfrm>
        <a:off x="73690" y="3323134"/>
        <a:ext cx="5513756" cy="13621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DABEEDE-9860-48D2-B377-1FF8B3F9ED8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venir Next LT Pro Light" panose="020B03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F0F59A-CB2D-4556-871F-37B4A22D68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288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EDECF3-F4EB-4578-B7D0-74CDAC3CD5AC}" type="datetimeFigureOut">
              <a:rPr lang="en-GB">
                <a:latin typeface="Avenir Next LT Pro Light" panose="020B0304020202020204" pitchFamily="34" charset="0"/>
              </a:rPr>
              <a:t>23/10/2023</a:t>
            </a:fld>
            <a:endParaRPr lang="en-GB">
              <a:latin typeface="Avenir Next LT Pro Light" panose="020B03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E2498F-A088-43D4-B468-ADA705CDF6F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14838"/>
            <a:ext cx="2982913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venir Next LT Pro Light" panose="020B03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F61287-6B51-4433-8736-AF45064EFDD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901" y="9714838"/>
            <a:ext cx="2982912" cy="288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AE237-C833-42A1-AB51-75E0F75D0752}" type="slidenum">
              <a:rPr lang="en-GB">
                <a:latin typeface="Avenir Next LT Pro Light" panose="020B0304020202020204" pitchFamily="34" charset="0"/>
              </a:rPr>
              <a:t>‹#›</a:t>
            </a:fld>
            <a:endParaRPr lang="en-GB"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5964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288000"/>
          </a:xfrm>
          <a:prstGeom prst="rect">
            <a:avLst/>
          </a:prstGeom>
        </p:spPr>
        <p:txBody>
          <a:bodyPr vert="horz" lIns="96478" tIns="48239" rIns="96478" bIns="48239" rtlCol="0"/>
          <a:lstStyle>
            <a:lvl1pPr algn="l">
              <a:defRPr sz="1200">
                <a:latin typeface="Avenir Next LT Pro Light" panose="020B03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288000"/>
          </a:xfrm>
          <a:prstGeom prst="rect">
            <a:avLst/>
          </a:prstGeom>
        </p:spPr>
        <p:txBody>
          <a:bodyPr vert="horz" lIns="96478" tIns="48239" rIns="96478" bIns="48239" rtlCol="0"/>
          <a:lstStyle>
            <a:lvl1pPr algn="r">
              <a:defRPr sz="1200">
                <a:latin typeface="Avenir Next LT Pro Light" panose="020B0304020202020204" pitchFamily="34" charset="0"/>
              </a:defRPr>
            </a:lvl1pPr>
          </a:lstStyle>
          <a:p>
            <a:fld id="{95258671-7D67-48D0-B23E-3003B833AFAB}" type="datetimeFigureOut">
              <a:rPr lang="en-GB" smtClean="0"/>
              <a:pPr/>
              <a:t>23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92138" y="525463"/>
            <a:ext cx="8066088" cy="453866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vert="horz" lIns="96478" tIns="48239" rIns="96478" bIns="4823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16906" y="5301450"/>
            <a:ext cx="6048000" cy="4176000"/>
          </a:xfrm>
          <a:prstGeom prst="rect">
            <a:avLst/>
          </a:prstGeom>
        </p:spPr>
        <p:txBody>
          <a:bodyPr vert="horz" lIns="96478" tIns="48239" rIns="96478" bIns="4823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4838"/>
            <a:ext cx="2982119" cy="288000"/>
          </a:xfrm>
          <a:prstGeom prst="rect">
            <a:avLst/>
          </a:prstGeom>
        </p:spPr>
        <p:txBody>
          <a:bodyPr vert="horz" lIns="96478" tIns="48239" rIns="96478" bIns="48239" rtlCol="0" anchor="b"/>
          <a:lstStyle>
            <a:lvl1pPr algn="l">
              <a:defRPr sz="1200">
                <a:solidFill>
                  <a:schemeClr val="tx1"/>
                </a:solidFill>
                <a:latin typeface="Avenir Next LT Pro Light" panose="020B03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694" y="9714838"/>
            <a:ext cx="2982119" cy="288000"/>
          </a:xfrm>
          <a:prstGeom prst="rect">
            <a:avLst/>
          </a:prstGeom>
        </p:spPr>
        <p:txBody>
          <a:bodyPr vert="horz" lIns="96478" tIns="48239" rIns="96478" bIns="48239" rtlCol="0" anchor="b"/>
          <a:lstStyle>
            <a:lvl1pPr algn="r">
              <a:defRPr sz="1200">
                <a:solidFill>
                  <a:schemeClr val="tx1"/>
                </a:solidFill>
                <a:latin typeface="Avenir Next LT Pro Light" panose="020B0304020202020204" pitchFamily="34" charset="0"/>
              </a:defRPr>
            </a:lvl1pPr>
          </a:lstStyle>
          <a:p>
            <a:fld id="{21E2CD82-72F9-4A12-B4DB-53857CF7D08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843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spcAft>
        <a:spcPts val="0"/>
      </a:spcAft>
      <a:defRPr sz="1200" kern="1200">
        <a:solidFill>
          <a:schemeClr val="tx1"/>
        </a:solidFill>
        <a:latin typeface="Avenir Next LT Pro Light" panose="020B0304020202020204" pitchFamily="34" charset="0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Avenir Next LT Pro Light" panose="020B0304020202020204" pitchFamily="34" charset="0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Avenir Next LT Pro Light" panose="020B0304020202020204" pitchFamily="34" charset="0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Avenir Next LT Pro Light" panose="020B0304020202020204" pitchFamily="34" charset="0"/>
        <a:ea typeface="+mn-ea"/>
        <a:cs typeface="+mn-cs"/>
      </a:defRPr>
    </a:lvl4pPr>
    <a:lvl5pPr marL="0" algn="l" defTabSz="914400" rtl="0" eaLnBrk="1" latinLnBrk="0" hangingPunct="1">
      <a:spcBef>
        <a:spcPts val="1200"/>
      </a:spcBef>
      <a:defRPr sz="1200" b="1" kern="1200">
        <a:solidFill>
          <a:schemeClr val="tx1"/>
        </a:solidFill>
        <a:latin typeface="Avenir Next LT Pro Light" panose="020B03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69005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697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069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0697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208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704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153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53637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8393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546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627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46331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0427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9414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6359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0865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7086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7153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0697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6977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91668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959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E2CD82-72F9-4A12-B4DB-53857CF7D08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7822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865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233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3196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E2CD82-72F9-4A12-B4DB-53857CF7D08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64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306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E2CD82-72F9-4A12-B4DB-53857CF7D08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 Light" panose="020B03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venir Next LT Pro Light" panose="020B03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941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kern="1400" spc="-50" dirty="0">
              <a:effectLst/>
              <a:latin typeface="Calibri Light" panose="020F0302020204030204" pitchFamily="34" charset="0"/>
              <a:ea typeface="Yu Gothic Light" panose="020B0300000000000000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E2CD82-72F9-4A12-B4DB-53857CF7D08D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786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2B0A35-458B-0944-B673-C3294C34C1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069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image" Target="../media/image3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3590925"/>
            <a:ext cx="7560000" cy="1464525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8000" y="5524500"/>
            <a:ext cx="7560000" cy="64135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20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4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B3B5EAD-1349-517B-263F-8B9EE0DF6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2939703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054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D873717-C33E-37EE-6057-04FAEA8838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139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 dirty="0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63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Dark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 dirty="0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655E18BB-4AAC-E57D-967D-C3200CB2A3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75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A4DE201C-6643-B6FA-AE3B-A4FE8844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 dirty="0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11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etails Nav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3074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473074" y="3940384"/>
            <a:ext cx="3592524" cy="2059412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251726A-6A89-E1B7-9A6E-0AAA29F9794D}"/>
              </a:ext>
            </a:extLst>
          </p:cNvPr>
          <p:cNvSpPr/>
          <p:nvPr userDrawn="1"/>
        </p:nvSpPr>
        <p:spPr>
          <a:xfrm>
            <a:off x="684734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ACE048C0-9F2D-2ECA-91B2-D4447E98E3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8519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CAB902-04E3-93EE-4E9B-E3647176A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11332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DD619D79-E83A-955E-B71B-6188063FC6F5}"/>
              </a:ext>
            </a:extLst>
          </p:cNvPr>
          <p:cNvSpPr/>
          <p:nvPr userDrawn="1"/>
        </p:nvSpPr>
        <p:spPr>
          <a:xfrm>
            <a:off x="4298150" y="3901589"/>
            <a:ext cx="3592524" cy="2098207"/>
          </a:xfrm>
          <a:custGeom>
            <a:avLst/>
            <a:gdLst>
              <a:gd name="connsiteX0" fmla="*/ 1796262 w 3592524"/>
              <a:gd name="connsiteY0" fmla="*/ 0 h 2098207"/>
              <a:gd name="connsiteX1" fmla="*/ 2060244 w 3592524"/>
              <a:gd name="connsiteY1" fmla="*/ 236070 h 2098207"/>
              <a:gd name="connsiteX2" fmla="*/ 3592524 w 3592524"/>
              <a:gd name="connsiteY2" fmla="*/ 236070 h 2098207"/>
              <a:gd name="connsiteX3" fmla="*/ 3592524 w 3592524"/>
              <a:gd name="connsiteY3" fmla="*/ 2098207 h 2098207"/>
              <a:gd name="connsiteX4" fmla="*/ 0 w 3592524"/>
              <a:gd name="connsiteY4" fmla="*/ 2098207 h 2098207"/>
              <a:gd name="connsiteX5" fmla="*/ 0 w 3592524"/>
              <a:gd name="connsiteY5" fmla="*/ 236070 h 2098207"/>
              <a:gd name="connsiteX6" fmla="*/ 1532280 w 3592524"/>
              <a:gd name="connsiteY6" fmla="*/ 236070 h 209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8207">
                <a:moveTo>
                  <a:pt x="1796262" y="0"/>
                </a:moveTo>
                <a:lnTo>
                  <a:pt x="2060244" y="236070"/>
                </a:lnTo>
                <a:lnTo>
                  <a:pt x="3592524" y="236070"/>
                </a:lnTo>
                <a:lnTo>
                  <a:pt x="3592524" y="2098207"/>
                </a:lnTo>
                <a:lnTo>
                  <a:pt x="0" y="2098207"/>
                </a:lnTo>
                <a:lnTo>
                  <a:pt x="0" y="236070"/>
                </a:lnTo>
                <a:lnTo>
                  <a:pt x="1532280" y="2360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B83BDC2E-7569-31F7-CD8A-F13C87A819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63595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49590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8123226" y="3907378"/>
            <a:ext cx="3592524" cy="2092417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15F740-DE3E-72C0-9452-F35DF96B836F}"/>
              </a:ext>
            </a:extLst>
          </p:cNvPr>
          <p:cNvSpPr/>
          <p:nvPr userDrawn="1"/>
        </p:nvSpPr>
        <p:spPr>
          <a:xfrm>
            <a:off x="8334886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912C738-FC4F-65AF-9B9A-48C87763A9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88671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pic>
        <p:nvPicPr>
          <p:cNvPr id="29" name="ideagen logo">
            <a:extLst>
              <a:ext uri="{FF2B5EF4-FFF2-40B4-BE49-F238E27FC236}">
                <a16:creationId xmlns:a16="http://schemas.microsoft.com/office/drawing/2014/main" id="{D5F8B114-1ABE-10A5-C086-9223473F4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70536E3-E72D-89AA-0AB0-24ACB98ED9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3074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2CC9AC8-2575-B9A5-87BF-47E60D1647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3074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577D15B-AF46-A940-EC8F-F4E854E38F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8343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5C32AA5-A7B0-1C2E-A947-282E4EE4F2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98343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5EBB976-1B8D-CD67-2823-D6AF2811C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3226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47B43C2-B683-9D64-34CA-74C8832A783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23226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572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etails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3074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473074" y="3940384"/>
            <a:ext cx="3592524" cy="2059412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251726A-6A89-E1B7-9A6E-0AAA29F9794D}"/>
              </a:ext>
            </a:extLst>
          </p:cNvPr>
          <p:cNvSpPr/>
          <p:nvPr userDrawn="1"/>
        </p:nvSpPr>
        <p:spPr>
          <a:xfrm>
            <a:off x="684734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ACE048C0-9F2D-2ECA-91B2-D4447E98E3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8519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17517A-C989-B25F-B807-97F564A4B7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064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1CDA978-5807-86E5-B39E-ECB39CEF4A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064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CAB902-04E3-93EE-4E9B-E3647176A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11332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DD619D79-E83A-955E-B71B-6188063FC6F5}"/>
              </a:ext>
            </a:extLst>
          </p:cNvPr>
          <p:cNvSpPr/>
          <p:nvPr userDrawn="1"/>
        </p:nvSpPr>
        <p:spPr>
          <a:xfrm>
            <a:off x="4298150" y="3901589"/>
            <a:ext cx="3592524" cy="2098207"/>
          </a:xfrm>
          <a:custGeom>
            <a:avLst/>
            <a:gdLst>
              <a:gd name="connsiteX0" fmla="*/ 1796262 w 3592524"/>
              <a:gd name="connsiteY0" fmla="*/ 0 h 2098207"/>
              <a:gd name="connsiteX1" fmla="*/ 2060244 w 3592524"/>
              <a:gd name="connsiteY1" fmla="*/ 236070 h 2098207"/>
              <a:gd name="connsiteX2" fmla="*/ 3592524 w 3592524"/>
              <a:gd name="connsiteY2" fmla="*/ 236070 h 2098207"/>
              <a:gd name="connsiteX3" fmla="*/ 3592524 w 3592524"/>
              <a:gd name="connsiteY3" fmla="*/ 2098207 h 2098207"/>
              <a:gd name="connsiteX4" fmla="*/ 0 w 3592524"/>
              <a:gd name="connsiteY4" fmla="*/ 2098207 h 2098207"/>
              <a:gd name="connsiteX5" fmla="*/ 0 w 3592524"/>
              <a:gd name="connsiteY5" fmla="*/ 236070 h 2098207"/>
              <a:gd name="connsiteX6" fmla="*/ 1532280 w 3592524"/>
              <a:gd name="connsiteY6" fmla="*/ 236070 h 209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8207">
                <a:moveTo>
                  <a:pt x="1796262" y="0"/>
                </a:moveTo>
                <a:lnTo>
                  <a:pt x="2060244" y="236070"/>
                </a:lnTo>
                <a:lnTo>
                  <a:pt x="3592524" y="236070"/>
                </a:lnTo>
                <a:lnTo>
                  <a:pt x="3592524" y="2098207"/>
                </a:lnTo>
                <a:lnTo>
                  <a:pt x="0" y="2098207"/>
                </a:lnTo>
                <a:lnTo>
                  <a:pt x="0" y="236070"/>
                </a:lnTo>
                <a:lnTo>
                  <a:pt x="1532280" y="2360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B83BDC2E-7569-31F7-CD8A-F13C87A819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63595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C2B3448-E046-0664-2FAC-31519AF448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98343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56A70D-0246-42B5-2E23-1F487CBA51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8343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49590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8123226" y="3907378"/>
            <a:ext cx="3592524" cy="2092417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15F740-DE3E-72C0-9452-F35DF96B836F}"/>
              </a:ext>
            </a:extLst>
          </p:cNvPr>
          <p:cNvSpPr/>
          <p:nvPr userDrawn="1"/>
        </p:nvSpPr>
        <p:spPr>
          <a:xfrm>
            <a:off x="8334886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912C738-FC4F-65AF-9B9A-48C87763A9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88671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FF8BE6B-ED1A-7C3C-6BA6-6A9C6148E2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3226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EC68AEF-751F-2B28-7262-84A2E5EAFB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3226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57CE7930-C081-0256-F81B-19AE539DE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20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>
            <a:off x="0" y="0"/>
            <a:ext cx="75628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ideagen logo">
            <a:extLst>
              <a:ext uri="{FF2B5EF4-FFF2-40B4-BE49-F238E27FC236}">
                <a16:creationId xmlns:a16="http://schemas.microsoft.com/office/drawing/2014/main" id="{5F9D36B5-05D0-6920-020E-F0A7762A0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2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 dirty="0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chemeClr val="accent2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Insert person/</a:t>
            </a:r>
            <a:br>
              <a:rPr lang="en-GB" dirty="0"/>
            </a:br>
            <a:r>
              <a:rPr lang="en-GB" dirty="0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4894909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 flipH="1">
            <a:off x="7562850" y="0"/>
            <a:ext cx="46291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0BF7D6C6-C06C-098C-E8FB-1DE5455E1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5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rgbClr val="36EEFF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erson/</a:t>
            </a:r>
            <a:br>
              <a:rPr lang="en-GB" dirty="0"/>
            </a:br>
            <a:r>
              <a:rPr lang="en-GB" dirty="0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24997515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Quote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2968464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Quote Light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C97C9DC2-37E5-D9C0-91F3-834E9EF75B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982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Fea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8">
            <a:extLst>
              <a:ext uri="{FF2B5EF4-FFF2-40B4-BE49-F238E27FC236}">
                <a16:creationId xmlns:a16="http://schemas.microsoft.com/office/drawing/2014/main" id="{A0202016-DDC5-074E-445E-D59E1C0BA2C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512769" y="1556968"/>
            <a:ext cx="2468495" cy="2468880"/>
          </a:xfrm>
          <a:custGeom>
            <a:avLst/>
            <a:gdLst>
              <a:gd name="connsiteX0" fmla="*/ 2032405 w 2032406"/>
              <a:gd name="connsiteY0" fmla="*/ 0 h 2033462"/>
              <a:gd name="connsiteX1" fmla="*/ 2032405 w 2032406"/>
              <a:gd name="connsiteY1" fmla="*/ 993220 h 2033462"/>
              <a:gd name="connsiteX2" fmla="*/ 2032405 w 2032406"/>
              <a:gd name="connsiteY2" fmla="*/ 1073682 h 2033462"/>
              <a:gd name="connsiteX3" fmla="*/ 2032406 w 2032406"/>
              <a:gd name="connsiteY3" fmla="*/ 1073682 h 2033462"/>
              <a:gd name="connsiteX4" fmla="*/ 2032406 w 2032406"/>
              <a:gd name="connsiteY4" fmla="*/ 1242628 h 2033462"/>
              <a:gd name="connsiteX5" fmla="*/ 2032406 w 2032406"/>
              <a:gd name="connsiteY5" fmla="*/ 1390485 h 2033462"/>
              <a:gd name="connsiteX6" fmla="*/ 2032406 w 2032406"/>
              <a:gd name="connsiteY6" fmla="*/ 1518658 h 2033462"/>
              <a:gd name="connsiteX7" fmla="*/ 2032406 w 2032406"/>
              <a:gd name="connsiteY7" fmla="*/ 1628555 h 2033462"/>
              <a:gd name="connsiteX8" fmla="*/ 2032406 w 2032406"/>
              <a:gd name="connsiteY8" fmla="*/ 1721580 h 2033462"/>
              <a:gd name="connsiteX9" fmla="*/ 2032406 w 2032406"/>
              <a:gd name="connsiteY9" fmla="*/ 1799141 h 2033462"/>
              <a:gd name="connsiteX10" fmla="*/ 2032406 w 2032406"/>
              <a:gd name="connsiteY10" fmla="*/ 1862642 h 2033462"/>
              <a:gd name="connsiteX11" fmla="*/ 2032406 w 2032406"/>
              <a:gd name="connsiteY11" fmla="*/ 1913490 h 2033462"/>
              <a:gd name="connsiteX12" fmla="*/ 2032406 w 2032406"/>
              <a:gd name="connsiteY12" fmla="*/ 1953090 h 2033462"/>
              <a:gd name="connsiteX13" fmla="*/ 2032406 w 2032406"/>
              <a:gd name="connsiteY13" fmla="*/ 1982849 h 2033462"/>
              <a:gd name="connsiteX14" fmla="*/ 2032406 w 2032406"/>
              <a:gd name="connsiteY14" fmla="*/ 2004172 h 2033462"/>
              <a:gd name="connsiteX15" fmla="*/ 2032406 w 2032406"/>
              <a:gd name="connsiteY15" fmla="*/ 2018466 h 2033462"/>
              <a:gd name="connsiteX16" fmla="*/ 2032406 w 2032406"/>
              <a:gd name="connsiteY16" fmla="*/ 2031588 h 2033462"/>
              <a:gd name="connsiteX17" fmla="*/ 2032406 w 2032406"/>
              <a:gd name="connsiteY17" fmla="*/ 2033462 h 2033462"/>
              <a:gd name="connsiteX18" fmla="*/ 1924268 w 2032406"/>
              <a:gd name="connsiteY18" fmla="*/ 2033462 h 2033462"/>
              <a:gd name="connsiteX19" fmla="*/ 1824574 w 2032406"/>
              <a:gd name="connsiteY19" fmla="*/ 2033462 h 2033462"/>
              <a:gd name="connsiteX20" fmla="*/ 1732981 w 2032406"/>
              <a:gd name="connsiteY20" fmla="*/ 2033462 h 2033462"/>
              <a:gd name="connsiteX21" fmla="*/ 1649145 w 2032406"/>
              <a:gd name="connsiteY21" fmla="*/ 2033462 h 2033462"/>
              <a:gd name="connsiteX22" fmla="*/ 1503371 w 2032406"/>
              <a:gd name="connsiteY22" fmla="*/ 2033462 h 2033462"/>
              <a:gd name="connsiteX23" fmla="*/ 1384508 w 2032406"/>
              <a:gd name="connsiteY23" fmla="*/ 2033462 h 2033462"/>
              <a:gd name="connsiteX24" fmla="*/ 1313344 w 2032406"/>
              <a:gd name="connsiteY24" fmla="*/ 2033462 h 2033462"/>
              <a:gd name="connsiteX25" fmla="*/ 1306948 w 2032406"/>
              <a:gd name="connsiteY25" fmla="*/ 2033462 h 2033462"/>
              <a:gd name="connsiteX26" fmla="*/ 1243446 w 2032406"/>
              <a:gd name="connsiteY26" fmla="*/ 2033462 h 2033462"/>
              <a:gd name="connsiteX27" fmla="*/ 1194026 w 2032406"/>
              <a:gd name="connsiteY27" fmla="*/ 2033462 h 2033462"/>
              <a:gd name="connsiteX28" fmla="*/ 1192599 w 2032406"/>
              <a:gd name="connsiteY28" fmla="*/ 2033462 h 2033462"/>
              <a:gd name="connsiteX29" fmla="*/ 1152999 w 2032406"/>
              <a:gd name="connsiteY29" fmla="*/ 2033462 h 2033462"/>
              <a:gd name="connsiteX30" fmla="*/ 1123240 w 2032406"/>
              <a:gd name="connsiteY30" fmla="*/ 2033462 h 2033462"/>
              <a:gd name="connsiteX31" fmla="*/ 1101917 w 2032406"/>
              <a:gd name="connsiteY31" fmla="*/ 2033462 h 2033462"/>
              <a:gd name="connsiteX32" fmla="*/ 1087623 w 2032406"/>
              <a:gd name="connsiteY32" fmla="*/ 2033462 h 2033462"/>
              <a:gd name="connsiteX33" fmla="*/ 1082162 w 2032406"/>
              <a:gd name="connsiteY33" fmla="*/ 2033462 h 2033462"/>
              <a:gd name="connsiteX34" fmla="*/ 1074501 w 2032406"/>
              <a:gd name="connsiteY34" fmla="*/ 2033462 h 2033462"/>
              <a:gd name="connsiteX35" fmla="*/ 1072626 w 2032406"/>
              <a:gd name="connsiteY35" fmla="*/ 2033462 h 2033462"/>
              <a:gd name="connsiteX36" fmla="*/ 879838 w 2032406"/>
              <a:gd name="connsiteY36" fmla="*/ 2033462 h 2033462"/>
              <a:gd name="connsiteX37" fmla="*/ 724964 w 2032406"/>
              <a:gd name="connsiteY37" fmla="*/ 2033462 h 2033462"/>
              <a:gd name="connsiteX38" fmla="*/ 589423 w 2032406"/>
              <a:gd name="connsiteY38" fmla="*/ 2033462 h 2033462"/>
              <a:gd name="connsiteX39" fmla="*/ 471925 w 2032406"/>
              <a:gd name="connsiteY39" fmla="*/ 2033462 h 2033462"/>
              <a:gd name="connsiteX40" fmla="*/ 371182 w 2032406"/>
              <a:gd name="connsiteY40" fmla="*/ 2033462 h 2033462"/>
              <a:gd name="connsiteX41" fmla="*/ 285904 w 2032406"/>
              <a:gd name="connsiteY41" fmla="*/ 2033462 h 2033462"/>
              <a:gd name="connsiteX42" fmla="*/ 214804 w 2032406"/>
              <a:gd name="connsiteY42" fmla="*/ 2033462 h 2033462"/>
              <a:gd name="connsiteX43" fmla="*/ 156592 w 2032406"/>
              <a:gd name="connsiteY43" fmla="*/ 2033462 h 2033462"/>
              <a:gd name="connsiteX44" fmla="*/ 109980 w 2032406"/>
              <a:gd name="connsiteY44" fmla="*/ 2033462 h 2033462"/>
              <a:gd name="connsiteX45" fmla="*/ 73678 w 2032406"/>
              <a:gd name="connsiteY45" fmla="*/ 2033462 h 2033462"/>
              <a:gd name="connsiteX46" fmla="*/ 46398 w 2032406"/>
              <a:gd name="connsiteY46" fmla="*/ 2033462 h 2033462"/>
              <a:gd name="connsiteX47" fmla="*/ 26851 w 2032406"/>
              <a:gd name="connsiteY47" fmla="*/ 2033462 h 2033462"/>
              <a:gd name="connsiteX48" fmla="*/ 13748 w 2032406"/>
              <a:gd name="connsiteY48" fmla="*/ 2033462 h 2033462"/>
              <a:gd name="connsiteX49" fmla="*/ 1719 w 2032406"/>
              <a:gd name="connsiteY49" fmla="*/ 2033462 h 2033462"/>
              <a:gd name="connsiteX50" fmla="*/ 0 w 2032406"/>
              <a:gd name="connsiteY50" fmla="*/ 2033462 h 2033462"/>
              <a:gd name="connsiteX51" fmla="*/ 2032405 w 2032406"/>
              <a:gd name="connsiteY51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032406" h="2033462">
                <a:moveTo>
                  <a:pt x="2032405" y="0"/>
                </a:moveTo>
                <a:cubicBezTo>
                  <a:pt x="2032405" y="492760"/>
                  <a:pt x="2032405" y="800735"/>
                  <a:pt x="2032405" y="993220"/>
                </a:cubicBezTo>
                <a:lnTo>
                  <a:pt x="2032405" y="1073682"/>
                </a:lnTo>
                <a:lnTo>
                  <a:pt x="2032406" y="1073682"/>
                </a:lnTo>
                <a:lnTo>
                  <a:pt x="2032406" y="1242628"/>
                </a:lnTo>
                <a:lnTo>
                  <a:pt x="2032406" y="1390485"/>
                </a:lnTo>
                <a:lnTo>
                  <a:pt x="2032406" y="1518658"/>
                </a:lnTo>
                <a:lnTo>
                  <a:pt x="2032406" y="1628555"/>
                </a:lnTo>
                <a:lnTo>
                  <a:pt x="2032406" y="1721580"/>
                </a:lnTo>
                <a:lnTo>
                  <a:pt x="2032406" y="1799141"/>
                </a:lnTo>
                <a:lnTo>
                  <a:pt x="2032406" y="1862642"/>
                </a:lnTo>
                <a:lnTo>
                  <a:pt x="2032406" y="1913490"/>
                </a:lnTo>
                <a:lnTo>
                  <a:pt x="2032406" y="1953090"/>
                </a:lnTo>
                <a:lnTo>
                  <a:pt x="2032406" y="1982849"/>
                </a:lnTo>
                <a:lnTo>
                  <a:pt x="2032406" y="2004172"/>
                </a:lnTo>
                <a:lnTo>
                  <a:pt x="2032406" y="2018466"/>
                </a:lnTo>
                <a:lnTo>
                  <a:pt x="2032406" y="2031588"/>
                </a:lnTo>
                <a:lnTo>
                  <a:pt x="2032406" y="2033462"/>
                </a:lnTo>
                <a:lnTo>
                  <a:pt x="1924268" y="2033462"/>
                </a:lnTo>
                <a:lnTo>
                  <a:pt x="1824574" y="2033462"/>
                </a:lnTo>
                <a:lnTo>
                  <a:pt x="1732981" y="2033462"/>
                </a:lnTo>
                <a:lnTo>
                  <a:pt x="1649145" y="2033462"/>
                </a:lnTo>
                <a:lnTo>
                  <a:pt x="1503371" y="2033462"/>
                </a:lnTo>
                <a:lnTo>
                  <a:pt x="1384508" y="2033462"/>
                </a:lnTo>
                <a:lnTo>
                  <a:pt x="1313344" y="2033462"/>
                </a:lnTo>
                <a:lnTo>
                  <a:pt x="1306948" y="2033462"/>
                </a:lnTo>
                <a:lnTo>
                  <a:pt x="1243446" y="2033462"/>
                </a:lnTo>
                <a:lnTo>
                  <a:pt x="1194026" y="2033462"/>
                </a:lnTo>
                <a:lnTo>
                  <a:pt x="1192599" y="2033462"/>
                </a:lnTo>
                <a:lnTo>
                  <a:pt x="1152999" y="2033462"/>
                </a:lnTo>
                <a:lnTo>
                  <a:pt x="1123240" y="2033462"/>
                </a:lnTo>
                <a:lnTo>
                  <a:pt x="1101917" y="2033462"/>
                </a:lnTo>
                <a:lnTo>
                  <a:pt x="1087623" y="2033462"/>
                </a:lnTo>
                <a:lnTo>
                  <a:pt x="1082162" y="2033462"/>
                </a:lnTo>
                <a:lnTo>
                  <a:pt x="1074501" y="2033462"/>
                </a:lnTo>
                <a:lnTo>
                  <a:pt x="1072626" y="2033462"/>
                </a:lnTo>
                <a:lnTo>
                  <a:pt x="879838" y="2033462"/>
                </a:lnTo>
                <a:lnTo>
                  <a:pt x="724964" y="2033462"/>
                </a:lnTo>
                <a:lnTo>
                  <a:pt x="589423" y="2033462"/>
                </a:lnTo>
                <a:lnTo>
                  <a:pt x="471925" y="2033462"/>
                </a:lnTo>
                <a:lnTo>
                  <a:pt x="371182" y="2033462"/>
                </a:lnTo>
                <a:lnTo>
                  <a:pt x="285904" y="2033462"/>
                </a:lnTo>
                <a:lnTo>
                  <a:pt x="214804" y="2033462"/>
                </a:lnTo>
                <a:lnTo>
                  <a:pt x="156592" y="2033462"/>
                </a:lnTo>
                <a:lnTo>
                  <a:pt x="109980" y="2033462"/>
                </a:lnTo>
                <a:lnTo>
                  <a:pt x="73678" y="2033462"/>
                </a:lnTo>
                <a:lnTo>
                  <a:pt x="46398" y="2033462"/>
                </a:lnTo>
                <a:lnTo>
                  <a:pt x="26851" y="2033462"/>
                </a:lnTo>
                <a:lnTo>
                  <a:pt x="13748" y="2033462"/>
                </a:lnTo>
                <a:lnTo>
                  <a:pt x="1719" y="2033462"/>
                </a:lnTo>
                <a:lnTo>
                  <a:pt x="0" y="2033462"/>
                </a:lnTo>
                <a:cubicBezTo>
                  <a:pt x="44412" y="931033"/>
                  <a:pt x="930549" y="44436"/>
                  <a:pt x="2032405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lIns="576000" bIns="432000" anchor="b" anchorCtr="0">
            <a:noAutofit/>
          </a:bodyPr>
          <a:lstStyle>
            <a:lvl1pPr algn="r">
              <a:buNone/>
              <a:defRPr sz="1800">
                <a:latin typeface="+mn-lt"/>
              </a:defRPr>
            </a:lvl1pPr>
          </a:lstStyle>
          <a:p>
            <a:r>
              <a:rPr lang="en-US" dirty="0"/>
              <a:t>Insert your image here</a:t>
            </a:r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8B3E0B95-2CB7-11A5-C253-4741EA9E83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2312" y="1556968"/>
            <a:ext cx="2468880" cy="2468880"/>
          </a:xfrm>
          <a:custGeom>
            <a:avLst/>
            <a:gdLst>
              <a:gd name="connsiteX0" fmla="*/ 1 w 2032406"/>
              <a:gd name="connsiteY0" fmla="*/ 0 h 2033462"/>
              <a:gd name="connsiteX1" fmla="*/ 2032406 w 2032406"/>
              <a:gd name="connsiteY1" fmla="*/ 2033462 h 2033462"/>
              <a:gd name="connsiteX2" fmla="*/ 1913088 w 2032406"/>
              <a:gd name="connsiteY2" fmla="*/ 2033462 h 2033462"/>
              <a:gd name="connsiteX3" fmla="*/ 1801224 w 2032406"/>
              <a:gd name="connsiteY3" fmla="*/ 2033462 h 2033462"/>
              <a:gd name="connsiteX4" fmla="*/ 1598900 w 2032406"/>
              <a:gd name="connsiteY4" fmla="*/ 2033462 h 2033462"/>
              <a:gd name="connsiteX5" fmla="*/ 1423510 w 2032406"/>
              <a:gd name="connsiteY5" fmla="*/ 2033462 h 2033462"/>
              <a:gd name="connsiteX6" fmla="*/ 1273129 w 2032406"/>
              <a:gd name="connsiteY6" fmla="*/ 2033462 h 2033462"/>
              <a:gd name="connsiteX7" fmla="*/ 1154851 w 2032406"/>
              <a:gd name="connsiteY7" fmla="*/ 2033462 h 2033462"/>
              <a:gd name="connsiteX8" fmla="*/ 1145835 w 2032406"/>
              <a:gd name="connsiteY8" fmla="*/ 2033462 h 2033462"/>
              <a:gd name="connsiteX9" fmla="*/ 1039703 w 2032406"/>
              <a:gd name="connsiteY9" fmla="*/ 2033462 h 2033462"/>
              <a:gd name="connsiteX10" fmla="*/ 952809 w 2032406"/>
              <a:gd name="connsiteY10" fmla="*/ 2033462 h 2033462"/>
              <a:gd name="connsiteX11" fmla="*/ 951568 w 2032406"/>
              <a:gd name="connsiteY11" fmla="*/ 2033462 h 2033462"/>
              <a:gd name="connsiteX12" fmla="*/ 883230 w 2032406"/>
              <a:gd name="connsiteY12" fmla="*/ 2033462 h 2033462"/>
              <a:gd name="connsiteX13" fmla="*/ 829042 w 2032406"/>
              <a:gd name="connsiteY13" fmla="*/ 2033462 h 2033462"/>
              <a:gd name="connsiteX14" fmla="*/ 788321 w 2032406"/>
              <a:gd name="connsiteY14" fmla="*/ 2033462 h 2033462"/>
              <a:gd name="connsiteX15" fmla="*/ 773660 w 2032406"/>
              <a:gd name="connsiteY15" fmla="*/ 2033462 h 2033462"/>
              <a:gd name="connsiteX16" fmla="*/ 759142 w 2032406"/>
              <a:gd name="connsiteY16" fmla="*/ 2033462 h 2033462"/>
              <a:gd name="connsiteX17" fmla="*/ 739583 w 2032406"/>
              <a:gd name="connsiteY17" fmla="*/ 2033462 h 2033462"/>
              <a:gd name="connsiteX18" fmla="*/ 727720 w 2032406"/>
              <a:gd name="connsiteY18" fmla="*/ 2033462 h 2033462"/>
              <a:gd name="connsiteX19" fmla="*/ 721627 w 2032406"/>
              <a:gd name="connsiteY19" fmla="*/ 2033462 h 2033462"/>
              <a:gd name="connsiteX20" fmla="*/ 719062 w 2032406"/>
              <a:gd name="connsiteY20" fmla="*/ 2033462 h 2033462"/>
              <a:gd name="connsiteX21" fmla="*/ 619436 w 2032406"/>
              <a:gd name="connsiteY21" fmla="*/ 2033462 h 2033462"/>
              <a:gd name="connsiteX22" fmla="*/ 510400 w 2032406"/>
              <a:gd name="connsiteY22" fmla="*/ 2033462 h 2033462"/>
              <a:gd name="connsiteX23" fmla="*/ 414974 w 2032406"/>
              <a:gd name="connsiteY23" fmla="*/ 2033462 h 2033462"/>
              <a:gd name="connsiteX24" fmla="*/ 332251 w 2032406"/>
              <a:gd name="connsiteY24" fmla="*/ 2033462 h 2033462"/>
              <a:gd name="connsiteX25" fmla="*/ 261325 w 2032406"/>
              <a:gd name="connsiteY25" fmla="*/ 2033462 h 2033462"/>
              <a:gd name="connsiteX26" fmla="*/ 201287 w 2032406"/>
              <a:gd name="connsiteY26" fmla="*/ 2033462 h 2033462"/>
              <a:gd name="connsiteX27" fmla="*/ 151230 w 2032406"/>
              <a:gd name="connsiteY27" fmla="*/ 2033462 h 2033462"/>
              <a:gd name="connsiteX28" fmla="*/ 110246 w 2032406"/>
              <a:gd name="connsiteY28" fmla="*/ 2033462 h 2033462"/>
              <a:gd name="connsiteX29" fmla="*/ 77430 w 2032406"/>
              <a:gd name="connsiteY29" fmla="*/ 2033462 h 2033462"/>
              <a:gd name="connsiteX30" fmla="*/ 32666 w 2032406"/>
              <a:gd name="connsiteY30" fmla="*/ 2033462 h 2033462"/>
              <a:gd name="connsiteX31" fmla="*/ 9679 w 2032406"/>
              <a:gd name="connsiteY31" fmla="*/ 2033462 h 2033462"/>
              <a:gd name="connsiteX32" fmla="*/ 1210 w 2032406"/>
              <a:gd name="connsiteY32" fmla="*/ 2033462 h 2033462"/>
              <a:gd name="connsiteX33" fmla="*/ 0 w 2032406"/>
              <a:gd name="connsiteY33" fmla="*/ 2033462 h 2033462"/>
              <a:gd name="connsiteX34" fmla="*/ 0 w 2032406"/>
              <a:gd name="connsiteY34" fmla="*/ 1830179 h 2033462"/>
              <a:gd name="connsiteX35" fmla="*/ 0 w 2032406"/>
              <a:gd name="connsiteY35" fmla="*/ 1652271 h 2033462"/>
              <a:gd name="connsiteX36" fmla="*/ 0 w 2032406"/>
              <a:gd name="connsiteY36" fmla="*/ 1498047 h 2033462"/>
              <a:gd name="connsiteX37" fmla="*/ 0 w 2032406"/>
              <a:gd name="connsiteY37" fmla="*/ 1365814 h 2033462"/>
              <a:gd name="connsiteX38" fmla="*/ 0 w 2032406"/>
              <a:gd name="connsiteY38" fmla="*/ 1253881 h 2033462"/>
              <a:gd name="connsiteX39" fmla="*/ 0 w 2032406"/>
              <a:gd name="connsiteY39" fmla="*/ 1160557 h 2033462"/>
              <a:gd name="connsiteX40" fmla="*/ 0 w 2032406"/>
              <a:gd name="connsiteY40" fmla="*/ 1084150 h 2033462"/>
              <a:gd name="connsiteX41" fmla="*/ 0 w 2032406"/>
              <a:gd name="connsiteY41" fmla="*/ 1022968 h 2033462"/>
              <a:gd name="connsiteX42" fmla="*/ 0 w 2032406"/>
              <a:gd name="connsiteY42" fmla="*/ 975319 h 2033462"/>
              <a:gd name="connsiteX43" fmla="*/ 0 w 2032406"/>
              <a:gd name="connsiteY43" fmla="*/ 939512 h 2033462"/>
              <a:gd name="connsiteX44" fmla="*/ 0 w 2032406"/>
              <a:gd name="connsiteY44" fmla="*/ 913855 h 2033462"/>
              <a:gd name="connsiteX45" fmla="*/ 0 w 2032406"/>
              <a:gd name="connsiteY45" fmla="*/ 896656 h 2033462"/>
              <a:gd name="connsiteX46" fmla="*/ 0 w 2032406"/>
              <a:gd name="connsiteY46" fmla="*/ 880867 h 2033462"/>
              <a:gd name="connsiteX47" fmla="*/ 0 w 2032406"/>
              <a:gd name="connsiteY47" fmla="*/ 878611 h 2033462"/>
              <a:gd name="connsiteX48" fmla="*/ 1 w 2032406"/>
              <a:gd name="connsiteY48" fmla="*/ 878611 h 2033462"/>
              <a:gd name="connsiteX49" fmla="*/ 1 w 2032406"/>
              <a:gd name="connsiteY49" fmla="*/ 704814 h 2033462"/>
              <a:gd name="connsiteX50" fmla="*/ 1 w 2032406"/>
              <a:gd name="connsiteY50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032406" h="2033462">
                <a:moveTo>
                  <a:pt x="1" y="0"/>
                </a:moveTo>
                <a:cubicBezTo>
                  <a:pt x="1101857" y="44436"/>
                  <a:pt x="1987994" y="931034"/>
                  <a:pt x="2032406" y="2033462"/>
                </a:cubicBezTo>
                <a:lnTo>
                  <a:pt x="1913088" y="2033462"/>
                </a:lnTo>
                <a:lnTo>
                  <a:pt x="1801224" y="2033462"/>
                </a:lnTo>
                <a:lnTo>
                  <a:pt x="1598900" y="2033462"/>
                </a:lnTo>
                <a:lnTo>
                  <a:pt x="1423510" y="2033462"/>
                </a:lnTo>
                <a:lnTo>
                  <a:pt x="1273129" y="2033462"/>
                </a:lnTo>
                <a:lnTo>
                  <a:pt x="1154851" y="2033462"/>
                </a:lnTo>
                <a:lnTo>
                  <a:pt x="1145835" y="2033462"/>
                </a:lnTo>
                <a:lnTo>
                  <a:pt x="1039703" y="2033462"/>
                </a:lnTo>
                <a:lnTo>
                  <a:pt x="952809" y="2033462"/>
                </a:lnTo>
                <a:lnTo>
                  <a:pt x="951568" y="2033462"/>
                </a:lnTo>
                <a:lnTo>
                  <a:pt x="883230" y="2033462"/>
                </a:lnTo>
                <a:lnTo>
                  <a:pt x="829042" y="2033462"/>
                </a:lnTo>
                <a:lnTo>
                  <a:pt x="788321" y="2033462"/>
                </a:lnTo>
                <a:lnTo>
                  <a:pt x="773660" y="2033462"/>
                </a:lnTo>
                <a:lnTo>
                  <a:pt x="759142" y="2033462"/>
                </a:lnTo>
                <a:lnTo>
                  <a:pt x="739583" y="2033462"/>
                </a:lnTo>
                <a:lnTo>
                  <a:pt x="727720" y="2033462"/>
                </a:lnTo>
                <a:lnTo>
                  <a:pt x="721627" y="2033462"/>
                </a:lnTo>
                <a:lnTo>
                  <a:pt x="719062" y="2033462"/>
                </a:lnTo>
                <a:lnTo>
                  <a:pt x="619436" y="2033462"/>
                </a:lnTo>
                <a:lnTo>
                  <a:pt x="510400" y="2033462"/>
                </a:lnTo>
                <a:lnTo>
                  <a:pt x="414974" y="2033462"/>
                </a:lnTo>
                <a:lnTo>
                  <a:pt x="332251" y="2033462"/>
                </a:lnTo>
                <a:lnTo>
                  <a:pt x="261325" y="2033462"/>
                </a:lnTo>
                <a:lnTo>
                  <a:pt x="201287" y="2033462"/>
                </a:lnTo>
                <a:lnTo>
                  <a:pt x="151230" y="2033462"/>
                </a:lnTo>
                <a:lnTo>
                  <a:pt x="110246" y="2033462"/>
                </a:lnTo>
                <a:lnTo>
                  <a:pt x="77430" y="2033462"/>
                </a:lnTo>
                <a:lnTo>
                  <a:pt x="32666" y="2033462"/>
                </a:lnTo>
                <a:lnTo>
                  <a:pt x="9679" y="2033462"/>
                </a:lnTo>
                <a:lnTo>
                  <a:pt x="1210" y="2033462"/>
                </a:lnTo>
                <a:lnTo>
                  <a:pt x="0" y="2033462"/>
                </a:lnTo>
                <a:lnTo>
                  <a:pt x="0" y="1830179"/>
                </a:lnTo>
                <a:lnTo>
                  <a:pt x="0" y="1652271"/>
                </a:lnTo>
                <a:lnTo>
                  <a:pt x="0" y="1498047"/>
                </a:lnTo>
                <a:lnTo>
                  <a:pt x="0" y="1365814"/>
                </a:lnTo>
                <a:lnTo>
                  <a:pt x="0" y="1253881"/>
                </a:lnTo>
                <a:lnTo>
                  <a:pt x="0" y="1160557"/>
                </a:lnTo>
                <a:lnTo>
                  <a:pt x="0" y="1084150"/>
                </a:lnTo>
                <a:lnTo>
                  <a:pt x="0" y="1022968"/>
                </a:lnTo>
                <a:lnTo>
                  <a:pt x="0" y="975319"/>
                </a:lnTo>
                <a:lnTo>
                  <a:pt x="0" y="939512"/>
                </a:lnTo>
                <a:lnTo>
                  <a:pt x="0" y="913855"/>
                </a:lnTo>
                <a:lnTo>
                  <a:pt x="0" y="896656"/>
                </a:lnTo>
                <a:lnTo>
                  <a:pt x="0" y="880867"/>
                </a:lnTo>
                <a:lnTo>
                  <a:pt x="0" y="878611"/>
                </a:lnTo>
                <a:lnTo>
                  <a:pt x="1" y="878611"/>
                </a:lnTo>
                <a:lnTo>
                  <a:pt x="1" y="704814"/>
                </a:ln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rIns="576000" bIns="432000" anchor="b" anchorCtr="0">
            <a:noAutofit/>
          </a:bodyPr>
          <a:lstStyle>
            <a:lvl1pPr marL="22860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your image here</a:t>
            </a:r>
          </a:p>
        </p:txBody>
      </p:sp>
      <p:sp>
        <p:nvSpPr>
          <p:cNvPr id="8" name="Picture Placeholder 30">
            <a:extLst>
              <a:ext uri="{FF2B5EF4-FFF2-40B4-BE49-F238E27FC236}">
                <a16:creationId xmlns:a16="http://schemas.microsoft.com/office/drawing/2014/main" id="{E4942A16-9626-2798-5C33-BF9F0B1904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12769" y="4229647"/>
            <a:ext cx="2468880" cy="2468880"/>
          </a:xfrm>
          <a:custGeom>
            <a:avLst/>
            <a:gdLst>
              <a:gd name="connsiteX0" fmla="*/ 0 w 2032406"/>
              <a:gd name="connsiteY0" fmla="*/ 0 h 2033462"/>
              <a:gd name="connsiteX1" fmla="*/ 176167 w 2032406"/>
              <a:gd name="connsiteY1" fmla="*/ 0 h 2033462"/>
              <a:gd name="connsiteX2" fmla="*/ 335831 w 2032406"/>
              <a:gd name="connsiteY2" fmla="*/ 0 h 2033462"/>
              <a:gd name="connsiteX3" fmla="*/ 479804 w 2032406"/>
              <a:gd name="connsiteY3" fmla="*/ 0 h 2033462"/>
              <a:gd name="connsiteX4" fmla="*/ 608897 w 2032406"/>
              <a:gd name="connsiteY4" fmla="*/ 0 h 2033462"/>
              <a:gd name="connsiteX5" fmla="*/ 723922 w 2032406"/>
              <a:gd name="connsiteY5" fmla="*/ 0 h 2033462"/>
              <a:gd name="connsiteX6" fmla="*/ 825690 w 2032406"/>
              <a:gd name="connsiteY6" fmla="*/ 0 h 2033462"/>
              <a:gd name="connsiteX7" fmla="*/ 915013 w 2032406"/>
              <a:gd name="connsiteY7" fmla="*/ 0 h 2033462"/>
              <a:gd name="connsiteX8" fmla="*/ 992703 w 2032406"/>
              <a:gd name="connsiteY8" fmla="*/ 0 h 2033462"/>
              <a:gd name="connsiteX9" fmla="*/ 1078722 w 2032406"/>
              <a:gd name="connsiteY9" fmla="*/ 0 h 2033462"/>
              <a:gd name="connsiteX10" fmla="*/ 1079597 w 2032406"/>
              <a:gd name="connsiteY10" fmla="*/ 0 h 2033462"/>
              <a:gd name="connsiteX11" fmla="*/ 1149176 w 2032406"/>
              <a:gd name="connsiteY11" fmla="*/ 0 h 2033462"/>
              <a:gd name="connsiteX12" fmla="*/ 1203365 w 2032406"/>
              <a:gd name="connsiteY12" fmla="*/ 0 h 2033462"/>
              <a:gd name="connsiteX13" fmla="*/ 1244086 w 2032406"/>
              <a:gd name="connsiteY13" fmla="*/ 0 h 2033462"/>
              <a:gd name="connsiteX14" fmla="*/ 1273264 w 2032406"/>
              <a:gd name="connsiteY14" fmla="*/ 0 h 2033462"/>
              <a:gd name="connsiteX15" fmla="*/ 1292823 w 2032406"/>
              <a:gd name="connsiteY15" fmla="*/ 0 h 2033462"/>
              <a:gd name="connsiteX16" fmla="*/ 1304687 w 2032406"/>
              <a:gd name="connsiteY16" fmla="*/ 0 h 2033462"/>
              <a:gd name="connsiteX17" fmla="*/ 1310779 w 2032406"/>
              <a:gd name="connsiteY17" fmla="*/ 0 h 2033462"/>
              <a:gd name="connsiteX18" fmla="*/ 1313344 w 2032406"/>
              <a:gd name="connsiteY18" fmla="*/ 0 h 2033462"/>
              <a:gd name="connsiteX19" fmla="*/ 2032406 w 2032406"/>
              <a:gd name="connsiteY19" fmla="*/ 0 h 2033462"/>
              <a:gd name="connsiteX20" fmla="*/ 2032406 w 2032406"/>
              <a:gd name="connsiteY20" fmla="*/ 167873 h 2033462"/>
              <a:gd name="connsiteX21" fmla="*/ 2032406 w 2032406"/>
              <a:gd name="connsiteY21" fmla="*/ 314791 h 2033462"/>
              <a:gd name="connsiteX22" fmla="*/ 2032406 w 2032406"/>
              <a:gd name="connsiteY22" fmla="*/ 442150 h 2033462"/>
              <a:gd name="connsiteX23" fmla="*/ 2032406 w 2032406"/>
              <a:gd name="connsiteY23" fmla="*/ 551349 h 2033462"/>
              <a:gd name="connsiteX24" fmla="*/ 2032406 w 2032406"/>
              <a:gd name="connsiteY24" fmla="*/ 643784 h 2033462"/>
              <a:gd name="connsiteX25" fmla="*/ 2032406 w 2032406"/>
              <a:gd name="connsiteY25" fmla="*/ 720851 h 2033462"/>
              <a:gd name="connsiteX26" fmla="*/ 2032406 w 2032406"/>
              <a:gd name="connsiteY26" fmla="*/ 783949 h 2033462"/>
              <a:gd name="connsiteX27" fmla="*/ 2032406 w 2032406"/>
              <a:gd name="connsiteY27" fmla="*/ 834474 h 2033462"/>
              <a:gd name="connsiteX28" fmla="*/ 2032406 w 2032406"/>
              <a:gd name="connsiteY28" fmla="*/ 873823 h 2033462"/>
              <a:gd name="connsiteX29" fmla="*/ 2032406 w 2032406"/>
              <a:gd name="connsiteY29" fmla="*/ 903392 h 2033462"/>
              <a:gd name="connsiteX30" fmla="*/ 2032406 w 2032406"/>
              <a:gd name="connsiteY30" fmla="*/ 924580 h 2033462"/>
              <a:gd name="connsiteX31" fmla="*/ 2032406 w 2032406"/>
              <a:gd name="connsiteY31" fmla="*/ 938783 h 2033462"/>
              <a:gd name="connsiteX32" fmla="*/ 2032406 w 2032406"/>
              <a:gd name="connsiteY32" fmla="*/ 951822 h 2033462"/>
              <a:gd name="connsiteX33" fmla="*/ 2032406 w 2032406"/>
              <a:gd name="connsiteY33" fmla="*/ 953684 h 2033462"/>
              <a:gd name="connsiteX34" fmla="*/ 2032405 w 2032406"/>
              <a:gd name="connsiteY34" fmla="*/ 953684 h 2033462"/>
              <a:gd name="connsiteX35" fmla="*/ 2032405 w 2032406"/>
              <a:gd name="connsiteY35" fmla="*/ 1153167 h 2033462"/>
              <a:gd name="connsiteX36" fmla="*/ 2032405 w 2032406"/>
              <a:gd name="connsiteY36" fmla="*/ 2033462 h 2033462"/>
              <a:gd name="connsiteX37" fmla="*/ 0 w 2032406"/>
              <a:gd name="connsiteY37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032406" h="2033462">
                <a:moveTo>
                  <a:pt x="0" y="0"/>
                </a:moveTo>
                <a:lnTo>
                  <a:pt x="176167" y="0"/>
                </a:lnTo>
                <a:lnTo>
                  <a:pt x="335831" y="0"/>
                </a:lnTo>
                <a:lnTo>
                  <a:pt x="479804" y="0"/>
                </a:lnTo>
                <a:lnTo>
                  <a:pt x="608897" y="0"/>
                </a:lnTo>
                <a:lnTo>
                  <a:pt x="723922" y="0"/>
                </a:lnTo>
                <a:lnTo>
                  <a:pt x="825690" y="0"/>
                </a:lnTo>
                <a:lnTo>
                  <a:pt x="915013" y="0"/>
                </a:lnTo>
                <a:lnTo>
                  <a:pt x="992703" y="0"/>
                </a:lnTo>
                <a:lnTo>
                  <a:pt x="1078722" y="0"/>
                </a:lnTo>
                <a:lnTo>
                  <a:pt x="1079597" y="0"/>
                </a:lnTo>
                <a:lnTo>
                  <a:pt x="1149176" y="0"/>
                </a:lnTo>
                <a:lnTo>
                  <a:pt x="1203365" y="0"/>
                </a:lnTo>
                <a:lnTo>
                  <a:pt x="1244086" y="0"/>
                </a:lnTo>
                <a:lnTo>
                  <a:pt x="1273264" y="0"/>
                </a:lnTo>
                <a:lnTo>
                  <a:pt x="1292823" y="0"/>
                </a:lnTo>
                <a:lnTo>
                  <a:pt x="1304687" y="0"/>
                </a:lnTo>
                <a:lnTo>
                  <a:pt x="1310779" y="0"/>
                </a:lnTo>
                <a:lnTo>
                  <a:pt x="1313344" y="0"/>
                </a:lnTo>
                <a:lnTo>
                  <a:pt x="2032406" y="0"/>
                </a:lnTo>
                <a:lnTo>
                  <a:pt x="2032406" y="167873"/>
                </a:lnTo>
                <a:lnTo>
                  <a:pt x="2032406" y="314791"/>
                </a:lnTo>
                <a:lnTo>
                  <a:pt x="2032406" y="442150"/>
                </a:lnTo>
                <a:lnTo>
                  <a:pt x="2032406" y="551349"/>
                </a:lnTo>
                <a:lnTo>
                  <a:pt x="2032406" y="643784"/>
                </a:lnTo>
                <a:lnTo>
                  <a:pt x="2032406" y="720851"/>
                </a:lnTo>
                <a:lnTo>
                  <a:pt x="2032406" y="783949"/>
                </a:lnTo>
                <a:lnTo>
                  <a:pt x="2032406" y="834474"/>
                </a:lnTo>
                <a:lnTo>
                  <a:pt x="2032406" y="873823"/>
                </a:lnTo>
                <a:lnTo>
                  <a:pt x="2032406" y="903392"/>
                </a:lnTo>
                <a:lnTo>
                  <a:pt x="2032406" y="924580"/>
                </a:lnTo>
                <a:lnTo>
                  <a:pt x="2032406" y="938783"/>
                </a:lnTo>
                <a:lnTo>
                  <a:pt x="2032406" y="951822"/>
                </a:lnTo>
                <a:lnTo>
                  <a:pt x="2032406" y="953684"/>
                </a:lnTo>
                <a:lnTo>
                  <a:pt x="2032405" y="953684"/>
                </a:lnTo>
                <a:lnTo>
                  <a:pt x="2032405" y="1153167"/>
                </a:lnTo>
                <a:cubicBezTo>
                  <a:pt x="2032405" y="2033462"/>
                  <a:pt x="2032405" y="2033462"/>
                  <a:pt x="2032405" y="2033462"/>
                </a:cubicBezTo>
                <a:cubicBezTo>
                  <a:pt x="930549" y="1989026"/>
                  <a:pt x="44412" y="1102429"/>
                  <a:pt x="0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lIns="612000" tIns="432000" anchor="t" anchorCtr="0">
            <a:noAutofit/>
          </a:bodyPr>
          <a:lstStyle>
            <a:lvl1pPr marL="228600" indent="-300600" algn="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your image here</a:t>
            </a:r>
          </a:p>
        </p:txBody>
      </p:sp>
      <p:sp>
        <p:nvSpPr>
          <p:cNvPr id="9" name="Picture Placeholder 32">
            <a:extLst>
              <a:ext uri="{FF2B5EF4-FFF2-40B4-BE49-F238E27FC236}">
                <a16:creationId xmlns:a16="http://schemas.microsoft.com/office/drawing/2014/main" id="{1524ED29-F8D8-7148-69FE-E8DFCA3D8A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02312" y="4229647"/>
            <a:ext cx="2468880" cy="2468880"/>
          </a:xfrm>
          <a:custGeom>
            <a:avLst/>
            <a:gdLst>
              <a:gd name="connsiteX0" fmla="*/ 0 w 2032405"/>
              <a:gd name="connsiteY0" fmla="*/ 0 h 2033462"/>
              <a:gd name="connsiteX1" fmla="*/ 719061 w 2032405"/>
              <a:gd name="connsiteY1" fmla="*/ 0 h 2033462"/>
              <a:gd name="connsiteX2" fmla="*/ 999402 w 2032405"/>
              <a:gd name="connsiteY2" fmla="*/ 0 h 2033462"/>
              <a:gd name="connsiteX3" fmla="*/ 2032405 w 2032405"/>
              <a:gd name="connsiteY3" fmla="*/ 0 h 2033462"/>
              <a:gd name="connsiteX4" fmla="*/ 0 w 2032405"/>
              <a:gd name="connsiteY4" fmla="*/ 2033462 h 2033462"/>
              <a:gd name="connsiteX5" fmla="*/ 0 w 2032405"/>
              <a:gd name="connsiteY5" fmla="*/ 1040243 h 2033462"/>
              <a:gd name="connsiteX6" fmla="*/ 0 w 2032405"/>
              <a:gd name="connsiteY6" fmla="*/ 999402 h 2033462"/>
              <a:gd name="connsiteX7" fmla="*/ 0 w 2032405"/>
              <a:gd name="connsiteY7" fmla="*/ 953304 h 2033462"/>
              <a:gd name="connsiteX8" fmla="*/ 0 w 2032405"/>
              <a:gd name="connsiteY8" fmla="*/ 883689 h 2033462"/>
              <a:gd name="connsiteX9" fmla="*/ 0 w 2032405"/>
              <a:gd name="connsiteY9" fmla="*/ 829472 h 2033462"/>
              <a:gd name="connsiteX10" fmla="*/ 0 w 2032405"/>
              <a:gd name="connsiteY10" fmla="*/ 823482 h 2033462"/>
              <a:gd name="connsiteX11" fmla="*/ 0 w 2032405"/>
              <a:gd name="connsiteY11" fmla="*/ 788730 h 2033462"/>
              <a:gd name="connsiteX12" fmla="*/ 0 w 2032405"/>
              <a:gd name="connsiteY12" fmla="*/ 759536 h 2033462"/>
              <a:gd name="connsiteX13" fmla="*/ 0 w 2032405"/>
              <a:gd name="connsiteY13" fmla="*/ 739967 h 2033462"/>
              <a:gd name="connsiteX14" fmla="*/ 0 w 2032405"/>
              <a:gd name="connsiteY14" fmla="*/ 728097 h 2033462"/>
              <a:gd name="connsiteX15" fmla="*/ 0 w 2032405"/>
              <a:gd name="connsiteY15" fmla="*/ 722002 h 2033462"/>
              <a:gd name="connsiteX16" fmla="*/ 0 w 2032405"/>
              <a:gd name="connsiteY16" fmla="*/ 719435 h 2033462"/>
              <a:gd name="connsiteX17" fmla="*/ 0 w 2032405"/>
              <a:gd name="connsiteY17" fmla="*/ 669521 h 2033462"/>
              <a:gd name="connsiteX18" fmla="*/ 0 w 2032405"/>
              <a:gd name="connsiteY18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032405" h="2033462">
                <a:moveTo>
                  <a:pt x="0" y="0"/>
                </a:moveTo>
                <a:lnTo>
                  <a:pt x="719061" y="0"/>
                </a:lnTo>
                <a:lnTo>
                  <a:pt x="999402" y="0"/>
                </a:lnTo>
                <a:lnTo>
                  <a:pt x="2032405" y="0"/>
                </a:lnTo>
                <a:cubicBezTo>
                  <a:pt x="1987993" y="1102429"/>
                  <a:pt x="1101856" y="1989026"/>
                  <a:pt x="0" y="2033462"/>
                </a:cubicBezTo>
                <a:cubicBezTo>
                  <a:pt x="0" y="1540702"/>
                  <a:pt x="0" y="1232727"/>
                  <a:pt x="0" y="1040243"/>
                </a:cubicBezTo>
                <a:lnTo>
                  <a:pt x="0" y="999402"/>
                </a:lnTo>
                <a:lnTo>
                  <a:pt x="0" y="953304"/>
                </a:lnTo>
                <a:lnTo>
                  <a:pt x="0" y="883689"/>
                </a:lnTo>
                <a:lnTo>
                  <a:pt x="0" y="829472"/>
                </a:lnTo>
                <a:lnTo>
                  <a:pt x="0" y="823482"/>
                </a:lnTo>
                <a:lnTo>
                  <a:pt x="0" y="788730"/>
                </a:lnTo>
                <a:lnTo>
                  <a:pt x="0" y="759536"/>
                </a:lnTo>
                <a:lnTo>
                  <a:pt x="0" y="739967"/>
                </a:lnTo>
                <a:lnTo>
                  <a:pt x="0" y="728097"/>
                </a:lnTo>
                <a:lnTo>
                  <a:pt x="0" y="722002"/>
                </a:lnTo>
                <a:lnTo>
                  <a:pt x="0" y="719435"/>
                </a:lnTo>
                <a:lnTo>
                  <a:pt x="0" y="66952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tIns="432000" rIns="576000" anchor="t" anchorCtr="0">
            <a:noAutofit/>
          </a:bodyPr>
          <a:lstStyle>
            <a:lvl1pPr marL="22860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1455575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DCB9A8E-38D3-5E32-9206-9E8C77A9CD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7729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Halo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C5B4E665-571D-3826-7FD0-1E85FBC336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5840" y="3838644"/>
            <a:ext cx="2560320" cy="2560320"/>
          </a:xfrm>
          <a:prstGeom prst="ellipse">
            <a:avLst/>
          </a:prstGeom>
          <a:solidFill>
            <a:srgbClr val="2A3947"/>
          </a:solidFill>
          <a:ln w="63500">
            <a:noFill/>
          </a:ln>
        </p:spPr>
        <p:txBody>
          <a:bodyPr anchor="t" anchorCtr="0"/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2747692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Halo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C5B4E665-571D-3826-7FD0-1E85FBC336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5840" y="3838644"/>
            <a:ext cx="2560320" cy="2560320"/>
          </a:xfrm>
          <a:prstGeom prst="ellipse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txBody>
          <a:bodyPr anchor="t" anchorCtr="0"/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161330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/Integ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integration diagram">
            <a:extLst>
              <a:ext uri="{FF2B5EF4-FFF2-40B4-BE49-F238E27FC236}">
                <a16:creationId xmlns:a16="http://schemas.microsoft.com/office/drawing/2014/main" id="{BDFA4F5D-2DD9-17C9-44B5-9D273E67AB35}"/>
              </a:ext>
            </a:extLst>
          </p:cNvPr>
          <p:cNvGrpSpPr/>
          <p:nvPr userDrawn="1"/>
        </p:nvGrpSpPr>
        <p:grpSpPr>
          <a:xfrm>
            <a:off x="757154" y="1773538"/>
            <a:ext cx="10588486" cy="3702591"/>
            <a:chOff x="757154" y="1773538"/>
            <a:chExt cx="10588486" cy="3702591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9B88C5E4-184F-1F88-0D6E-52B196300468}"/>
                </a:ext>
              </a:extLst>
            </p:cNvPr>
            <p:cNvSpPr/>
            <p:nvPr/>
          </p:nvSpPr>
          <p:spPr>
            <a:xfrm flipH="1">
              <a:off x="9005112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3"/>
                </a:gs>
                <a:gs pos="70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DE8CA9C9-1992-180F-034F-DDE579CAFBFF}"/>
                </a:ext>
              </a:extLst>
            </p:cNvPr>
            <p:cNvSpPr/>
            <p:nvPr/>
          </p:nvSpPr>
          <p:spPr>
            <a:xfrm flipH="1">
              <a:off x="6861680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1"/>
                </a:gs>
                <a:gs pos="70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EFA5D4A2-574D-699B-D773-A446F775FA92}"/>
                </a:ext>
              </a:extLst>
            </p:cNvPr>
            <p:cNvSpPr/>
            <p:nvPr/>
          </p:nvSpPr>
          <p:spPr>
            <a:xfrm flipH="1">
              <a:off x="4714415" y="1777790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2"/>
                </a:gs>
                <a:gs pos="7000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D724BE08-0AC7-07FB-96E5-9C79463DD292}"/>
                </a:ext>
              </a:extLst>
            </p:cNvPr>
            <p:cNvSpPr/>
            <p:nvPr/>
          </p:nvSpPr>
          <p:spPr>
            <a:xfrm flipH="1">
              <a:off x="2574719" y="1777790"/>
              <a:ext cx="519850" cy="2152539"/>
            </a:xfrm>
            <a:prstGeom prst="parallelogram">
              <a:avLst>
                <a:gd name="adj" fmla="val 60581"/>
              </a:avLst>
            </a:prstGeom>
            <a:gradFill>
              <a:gsLst>
                <a:gs pos="70000">
                  <a:schemeClr val="tx2"/>
                </a:gs>
                <a:gs pos="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magenta">
              <a:extLst>
                <a:ext uri="{FF2B5EF4-FFF2-40B4-BE49-F238E27FC236}">
                  <a16:creationId xmlns:a16="http://schemas.microsoft.com/office/drawing/2014/main" id="{55CCFB6F-D022-2A6E-D374-789130ECEC42}"/>
                </a:ext>
              </a:extLst>
            </p:cNvPr>
            <p:cNvGrpSpPr/>
            <p:nvPr/>
          </p:nvGrpSpPr>
          <p:grpSpPr>
            <a:xfrm>
              <a:off x="9327994" y="1773538"/>
              <a:ext cx="2017646" cy="3702591"/>
              <a:chOff x="9327994" y="1773538"/>
              <a:chExt cx="2017646" cy="370259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3345523-B73C-DCEA-EAC2-F21897104EDE}"/>
                  </a:ext>
                </a:extLst>
              </p:cNvPr>
              <p:cNvSpPr/>
              <p:nvPr/>
            </p:nvSpPr>
            <p:spPr>
              <a:xfrm>
                <a:off x="9327994" y="1781555"/>
                <a:ext cx="2010025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3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E6440D7-25D7-B24C-A271-F5265B273CAB}"/>
                  </a:ext>
                </a:extLst>
              </p:cNvPr>
              <p:cNvSpPr/>
              <p:nvPr/>
            </p:nvSpPr>
            <p:spPr>
              <a:xfrm>
                <a:off x="9327996" y="1773538"/>
                <a:ext cx="2017644" cy="2156791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2" name="dark teal">
              <a:extLst>
                <a:ext uri="{FF2B5EF4-FFF2-40B4-BE49-F238E27FC236}">
                  <a16:creationId xmlns:a16="http://schemas.microsoft.com/office/drawing/2014/main" id="{E9CB33C2-5ADC-FF53-6EAF-A3180053E50D}"/>
                </a:ext>
              </a:extLst>
            </p:cNvPr>
            <p:cNvGrpSpPr/>
            <p:nvPr/>
          </p:nvGrpSpPr>
          <p:grpSpPr>
            <a:xfrm>
              <a:off x="7185284" y="1773538"/>
              <a:ext cx="2017644" cy="3694574"/>
              <a:chOff x="7185284" y="1773538"/>
              <a:chExt cx="2017644" cy="369457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FBA7A26-2311-13DA-C957-0B7D1C8FF7EE}"/>
                  </a:ext>
                </a:extLst>
              </p:cNvPr>
              <p:cNvSpPr/>
              <p:nvPr/>
            </p:nvSpPr>
            <p:spPr>
              <a:xfrm>
                <a:off x="7189096" y="1773538"/>
                <a:ext cx="2013832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1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6084705-3AB3-4C6D-E103-1ABE6488420F}"/>
                  </a:ext>
                </a:extLst>
              </p:cNvPr>
              <p:cNvSpPr/>
              <p:nvPr/>
            </p:nvSpPr>
            <p:spPr>
              <a:xfrm>
                <a:off x="7185284" y="1773538"/>
                <a:ext cx="2017644" cy="215679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3" name="light teal">
              <a:extLst>
                <a:ext uri="{FF2B5EF4-FFF2-40B4-BE49-F238E27FC236}">
                  <a16:creationId xmlns:a16="http://schemas.microsoft.com/office/drawing/2014/main" id="{7C685E5E-EC21-D6CF-3F1B-A6C8E81E394E}"/>
                </a:ext>
              </a:extLst>
            </p:cNvPr>
            <p:cNvGrpSpPr/>
            <p:nvPr/>
          </p:nvGrpSpPr>
          <p:grpSpPr>
            <a:xfrm>
              <a:off x="5038765" y="1773538"/>
              <a:ext cx="2021453" cy="3702591"/>
              <a:chOff x="5038765" y="1773538"/>
              <a:chExt cx="2021453" cy="370259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E3E97FE-AC55-DE41-33A5-64BCA1E39B09}"/>
                  </a:ext>
                </a:extLst>
              </p:cNvPr>
              <p:cNvSpPr/>
              <p:nvPr/>
            </p:nvSpPr>
            <p:spPr>
              <a:xfrm>
                <a:off x="5038765" y="1781555"/>
                <a:ext cx="2015348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14B4E4C-BCB7-185B-92F5-F47E550EAE6B}"/>
                  </a:ext>
                </a:extLst>
              </p:cNvPr>
              <p:cNvSpPr/>
              <p:nvPr/>
            </p:nvSpPr>
            <p:spPr>
              <a:xfrm>
                <a:off x="5042574" y="1773538"/>
                <a:ext cx="2017644" cy="215679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  <p:sp>
            <p:nvSpPr>
              <p:cNvPr id="25" name="cubes icon" hidden="1">
                <a:extLst>
                  <a:ext uri="{FF2B5EF4-FFF2-40B4-BE49-F238E27FC236}">
                    <a16:creationId xmlns:a16="http://schemas.microsoft.com/office/drawing/2014/main" id="{78F6FCC4-5530-42D1-964A-8FCD018618AC}"/>
                  </a:ext>
                </a:extLst>
              </p:cNvPr>
              <p:cNvSpPr/>
              <p:nvPr/>
            </p:nvSpPr>
            <p:spPr>
              <a:xfrm>
                <a:off x="5581927" y="2097313"/>
                <a:ext cx="938937" cy="834611"/>
              </a:xfrm>
              <a:custGeom>
                <a:avLst/>
                <a:gdLst>
                  <a:gd name="connsiteX0" fmla="*/ 905090 w 938937"/>
                  <a:gd name="connsiteY0" fmla="*/ 418213 h 834611"/>
                  <a:gd name="connsiteX1" fmla="*/ 730284 w 938937"/>
                  <a:gd name="connsiteY1" fmla="*/ 351710 h 834611"/>
                  <a:gd name="connsiteX2" fmla="*/ 730284 w 938937"/>
                  <a:gd name="connsiteY2" fmla="*/ 128701 h 834611"/>
                  <a:gd name="connsiteX3" fmla="*/ 696437 w 938937"/>
                  <a:gd name="connsiteY3" fmla="*/ 79153 h 834611"/>
                  <a:gd name="connsiteX4" fmla="*/ 506102 w 938937"/>
                  <a:gd name="connsiteY4" fmla="*/ 6740 h 834611"/>
                  <a:gd name="connsiteX5" fmla="*/ 469469 w 938937"/>
                  <a:gd name="connsiteY5" fmla="*/ 0 h 834611"/>
                  <a:gd name="connsiteX6" fmla="*/ 432835 w 938937"/>
                  <a:gd name="connsiteY6" fmla="*/ 6740 h 834611"/>
                  <a:gd name="connsiteX7" fmla="*/ 242500 w 938937"/>
                  <a:gd name="connsiteY7" fmla="*/ 79153 h 834611"/>
                  <a:gd name="connsiteX8" fmla="*/ 208653 w 938937"/>
                  <a:gd name="connsiteY8" fmla="*/ 128701 h 834611"/>
                  <a:gd name="connsiteX9" fmla="*/ 208653 w 938937"/>
                  <a:gd name="connsiteY9" fmla="*/ 351710 h 834611"/>
                  <a:gd name="connsiteX10" fmla="*/ 33847 w 938937"/>
                  <a:gd name="connsiteY10" fmla="*/ 418213 h 834611"/>
                  <a:gd name="connsiteX11" fmla="*/ 0 w 938937"/>
                  <a:gd name="connsiteY11" fmla="*/ 467762 h 834611"/>
                  <a:gd name="connsiteX12" fmla="*/ 0 w 938937"/>
                  <a:gd name="connsiteY12" fmla="*/ 705907 h 834611"/>
                  <a:gd name="connsiteX13" fmla="*/ 33847 w 938937"/>
                  <a:gd name="connsiteY13" fmla="*/ 755458 h 834611"/>
                  <a:gd name="connsiteX14" fmla="*/ 224183 w 938937"/>
                  <a:gd name="connsiteY14" fmla="*/ 827871 h 834611"/>
                  <a:gd name="connsiteX15" fmla="*/ 260816 w 938937"/>
                  <a:gd name="connsiteY15" fmla="*/ 834611 h 834611"/>
                  <a:gd name="connsiteX16" fmla="*/ 297449 w 938937"/>
                  <a:gd name="connsiteY16" fmla="*/ 827871 h 834611"/>
                  <a:gd name="connsiteX17" fmla="*/ 469469 w 938937"/>
                  <a:gd name="connsiteY17" fmla="*/ 762429 h 834611"/>
                  <a:gd name="connsiteX18" fmla="*/ 641488 w 938937"/>
                  <a:gd name="connsiteY18" fmla="*/ 827871 h 834611"/>
                  <a:gd name="connsiteX19" fmla="*/ 678121 w 938937"/>
                  <a:gd name="connsiteY19" fmla="*/ 834611 h 834611"/>
                  <a:gd name="connsiteX20" fmla="*/ 714754 w 938937"/>
                  <a:gd name="connsiteY20" fmla="*/ 827871 h 834611"/>
                  <a:gd name="connsiteX21" fmla="*/ 905090 w 938937"/>
                  <a:gd name="connsiteY21" fmla="*/ 755458 h 834611"/>
                  <a:gd name="connsiteX22" fmla="*/ 938937 w 938937"/>
                  <a:gd name="connsiteY22" fmla="*/ 705907 h 834611"/>
                  <a:gd name="connsiteX23" fmla="*/ 938937 w 938937"/>
                  <a:gd name="connsiteY23" fmla="*/ 467762 h 834611"/>
                  <a:gd name="connsiteX24" fmla="*/ 905090 w 938937"/>
                  <a:gd name="connsiteY24" fmla="*/ 418213 h 834611"/>
                  <a:gd name="connsiteX25" fmla="*/ 221693 w 938937"/>
                  <a:gd name="connsiteY25" fmla="*/ 743208 h 834611"/>
                  <a:gd name="connsiteX26" fmla="*/ 78245 w 938937"/>
                  <a:gd name="connsiteY26" fmla="*/ 688634 h 834611"/>
                  <a:gd name="connsiteX27" fmla="*/ 78245 w 938937"/>
                  <a:gd name="connsiteY27" fmla="*/ 550613 h 834611"/>
                  <a:gd name="connsiteX28" fmla="*/ 221693 w 938937"/>
                  <a:gd name="connsiteY28" fmla="*/ 598431 h 834611"/>
                  <a:gd name="connsiteX29" fmla="*/ 221693 w 938937"/>
                  <a:gd name="connsiteY29" fmla="*/ 743208 h 834611"/>
                  <a:gd name="connsiteX30" fmla="*/ 260816 w 938937"/>
                  <a:gd name="connsiteY30" fmla="*/ 529000 h 834611"/>
                  <a:gd name="connsiteX31" fmla="*/ 101915 w 938937"/>
                  <a:gd name="connsiteY31" fmla="*/ 476033 h 834611"/>
                  <a:gd name="connsiteX32" fmla="*/ 250580 w 938937"/>
                  <a:gd name="connsiteY32" fmla="*/ 419474 h 834611"/>
                  <a:gd name="connsiteX33" fmla="*/ 408808 w 938937"/>
                  <a:gd name="connsiteY33" fmla="*/ 479670 h 834611"/>
                  <a:gd name="connsiteX34" fmla="*/ 260816 w 938937"/>
                  <a:gd name="connsiteY34" fmla="*/ 529000 h 834611"/>
                  <a:gd name="connsiteX35" fmla="*/ 430346 w 938937"/>
                  <a:gd name="connsiteY35" fmla="*/ 693594 h 834611"/>
                  <a:gd name="connsiteX36" fmla="*/ 299938 w 938937"/>
                  <a:gd name="connsiteY36" fmla="*/ 743211 h 834611"/>
                  <a:gd name="connsiteX37" fmla="*/ 299938 w 938937"/>
                  <a:gd name="connsiteY37" fmla="*/ 598431 h 834611"/>
                  <a:gd name="connsiteX38" fmla="*/ 430346 w 938937"/>
                  <a:gd name="connsiteY38" fmla="*/ 554959 h 834611"/>
                  <a:gd name="connsiteX39" fmla="*/ 430346 w 938937"/>
                  <a:gd name="connsiteY39" fmla="*/ 693594 h 834611"/>
                  <a:gd name="connsiteX40" fmla="*/ 430346 w 938937"/>
                  <a:gd name="connsiteY40" fmla="*/ 396359 h 834611"/>
                  <a:gd name="connsiteX41" fmla="*/ 297449 w 938937"/>
                  <a:gd name="connsiteY41" fmla="*/ 345801 h 834611"/>
                  <a:gd name="connsiteX42" fmla="*/ 286897 w 938937"/>
                  <a:gd name="connsiteY42" fmla="*/ 342852 h 834611"/>
                  <a:gd name="connsiteX43" fmla="*/ 286897 w 938937"/>
                  <a:gd name="connsiteY43" fmla="*/ 211553 h 834611"/>
                  <a:gd name="connsiteX44" fmla="*/ 430346 w 938937"/>
                  <a:gd name="connsiteY44" fmla="*/ 259370 h 834611"/>
                  <a:gd name="connsiteX45" fmla="*/ 430346 w 938937"/>
                  <a:gd name="connsiteY45" fmla="*/ 396359 h 834611"/>
                  <a:gd name="connsiteX46" fmla="*/ 310568 w 938937"/>
                  <a:gd name="connsiteY46" fmla="*/ 136972 h 834611"/>
                  <a:gd name="connsiteX47" fmla="*/ 460663 w 938937"/>
                  <a:gd name="connsiteY47" fmla="*/ 79868 h 834611"/>
                  <a:gd name="connsiteX48" fmla="*/ 469469 w 938937"/>
                  <a:gd name="connsiteY48" fmla="*/ 78245 h 834611"/>
                  <a:gd name="connsiteX49" fmla="*/ 478278 w 938937"/>
                  <a:gd name="connsiteY49" fmla="*/ 79872 h 834611"/>
                  <a:gd name="connsiteX50" fmla="*/ 628369 w 938937"/>
                  <a:gd name="connsiteY50" fmla="*/ 136972 h 834611"/>
                  <a:gd name="connsiteX51" fmla="*/ 469469 w 938937"/>
                  <a:gd name="connsiteY51" fmla="*/ 189939 h 834611"/>
                  <a:gd name="connsiteX52" fmla="*/ 310568 w 938937"/>
                  <a:gd name="connsiteY52" fmla="*/ 136972 h 834611"/>
                  <a:gd name="connsiteX53" fmla="*/ 652040 w 938937"/>
                  <a:gd name="connsiteY53" fmla="*/ 211553 h 834611"/>
                  <a:gd name="connsiteX54" fmla="*/ 652040 w 938937"/>
                  <a:gd name="connsiteY54" fmla="*/ 342852 h 834611"/>
                  <a:gd name="connsiteX55" fmla="*/ 641488 w 938937"/>
                  <a:gd name="connsiteY55" fmla="*/ 345801 h 834611"/>
                  <a:gd name="connsiteX56" fmla="*/ 508591 w 938937"/>
                  <a:gd name="connsiteY56" fmla="*/ 396359 h 834611"/>
                  <a:gd name="connsiteX57" fmla="*/ 508591 w 938937"/>
                  <a:gd name="connsiteY57" fmla="*/ 259370 h 834611"/>
                  <a:gd name="connsiteX58" fmla="*/ 652040 w 938937"/>
                  <a:gd name="connsiteY58" fmla="*/ 211553 h 834611"/>
                  <a:gd name="connsiteX59" fmla="*/ 638999 w 938937"/>
                  <a:gd name="connsiteY59" fmla="*/ 743208 h 834611"/>
                  <a:gd name="connsiteX60" fmla="*/ 508591 w 938937"/>
                  <a:gd name="connsiteY60" fmla="*/ 693594 h 834611"/>
                  <a:gd name="connsiteX61" fmla="*/ 508591 w 938937"/>
                  <a:gd name="connsiteY61" fmla="*/ 554959 h 834611"/>
                  <a:gd name="connsiteX62" fmla="*/ 638999 w 938937"/>
                  <a:gd name="connsiteY62" fmla="*/ 598431 h 834611"/>
                  <a:gd name="connsiteX63" fmla="*/ 638999 w 938937"/>
                  <a:gd name="connsiteY63" fmla="*/ 743208 h 834611"/>
                  <a:gd name="connsiteX64" fmla="*/ 678121 w 938937"/>
                  <a:gd name="connsiteY64" fmla="*/ 529000 h 834611"/>
                  <a:gd name="connsiteX65" fmla="*/ 530129 w 938937"/>
                  <a:gd name="connsiteY65" fmla="*/ 479670 h 834611"/>
                  <a:gd name="connsiteX66" fmla="*/ 688353 w 938937"/>
                  <a:gd name="connsiteY66" fmla="*/ 419474 h 834611"/>
                  <a:gd name="connsiteX67" fmla="*/ 837022 w 938937"/>
                  <a:gd name="connsiteY67" fmla="*/ 476033 h 834611"/>
                  <a:gd name="connsiteX68" fmla="*/ 678121 w 938937"/>
                  <a:gd name="connsiteY68" fmla="*/ 529000 h 834611"/>
                  <a:gd name="connsiteX69" fmla="*/ 860692 w 938937"/>
                  <a:gd name="connsiteY69" fmla="*/ 688634 h 834611"/>
                  <a:gd name="connsiteX70" fmla="*/ 717244 w 938937"/>
                  <a:gd name="connsiteY70" fmla="*/ 743211 h 834611"/>
                  <a:gd name="connsiteX71" fmla="*/ 717244 w 938937"/>
                  <a:gd name="connsiteY71" fmla="*/ 598431 h 834611"/>
                  <a:gd name="connsiteX72" fmla="*/ 860692 w 938937"/>
                  <a:gd name="connsiteY72" fmla="*/ 550613 h 834611"/>
                  <a:gd name="connsiteX73" fmla="*/ 860692 w 938937"/>
                  <a:gd name="connsiteY73" fmla="*/ 688634 h 834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38937" h="834611">
                    <a:moveTo>
                      <a:pt x="905090" y="418213"/>
                    </a:moveTo>
                    <a:lnTo>
                      <a:pt x="730284" y="351710"/>
                    </a:lnTo>
                    <a:lnTo>
                      <a:pt x="730284" y="128701"/>
                    </a:lnTo>
                    <a:cubicBezTo>
                      <a:pt x="730284" y="106644"/>
                      <a:pt x="716799" y="86899"/>
                      <a:pt x="696437" y="79153"/>
                    </a:cubicBezTo>
                    <a:lnTo>
                      <a:pt x="506102" y="6740"/>
                    </a:lnTo>
                    <a:cubicBezTo>
                      <a:pt x="494290" y="2245"/>
                      <a:pt x="481878" y="0"/>
                      <a:pt x="469469" y="0"/>
                    </a:cubicBezTo>
                    <a:cubicBezTo>
                      <a:pt x="457059" y="0"/>
                      <a:pt x="444647" y="2245"/>
                      <a:pt x="432835" y="6740"/>
                    </a:cubicBezTo>
                    <a:lnTo>
                      <a:pt x="242500" y="79153"/>
                    </a:lnTo>
                    <a:cubicBezTo>
                      <a:pt x="222138" y="86899"/>
                      <a:pt x="208653" y="106644"/>
                      <a:pt x="208653" y="128701"/>
                    </a:cubicBezTo>
                    <a:lnTo>
                      <a:pt x="208653" y="351710"/>
                    </a:lnTo>
                    <a:lnTo>
                      <a:pt x="33847" y="418213"/>
                    </a:lnTo>
                    <a:cubicBezTo>
                      <a:pt x="13486" y="425960"/>
                      <a:pt x="0" y="445705"/>
                      <a:pt x="0" y="467762"/>
                    </a:cubicBezTo>
                    <a:lnTo>
                      <a:pt x="0" y="705907"/>
                    </a:lnTo>
                    <a:cubicBezTo>
                      <a:pt x="0" y="727967"/>
                      <a:pt x="13486" y="747712"/>
                      <a:pt x="33847" y="755458"/>
                    </a:cubicBezTo>
                    <a:lnTo>
                      <a:pt x="224183" y="827871"/>
                    </a:lnTo>
                    <a:cubicBezTo>
                      <a:pt x="235994" y="832363"/>
                      <a:pt x="248406" y="834611"/>
                      <a:pt x="260816" y="834611"/>
                    </a:cubicBezTo>
                    <a:cubicBezTo>
                      <a:pt x="273226" y="834611"/>
                      <a:pt x="285637" y="832363"/>
                      <a:pt x="297449" y="827871"/>
                    </a:cubicBezTo>
                    <a:lnTo>
                      <a:pt x="469469" y="762429"/>
                    </a:lnTo>
                    <a:lnTo>
                      <a:pt x="641488" y="827871"/>
                    </a:lnTo>
                    <a:cubicBezTo>
                      <a:pt x="653300" y="832363"/>
                      <a:pt x="665711" y="834611"/>
                      <a:pt x="678121" y="834611"/>
                    </a:cubicBezTo>
                    <a:cubicBezTo>
                      <a:pt x="690531" y="834611"/>
                      <a:pt x="702943" y="832363"/>
                      <a:pt x="714754" y="827871"/>
                    </a:cubicBezTo>
                    <a:lnTo>
                      <a:pt x="905090" y="755458"/>
                    </a:lnTo>
                    <a:cubicBezTo>
                      <a:pt x="925451" y="747712"/>
                      <a:pt x="938937" y="727967"/>
                      <a:pt x="938937" y="705907"/>
                    </a:cubicBezTo>
                    <a:lnTo>
                      <a:pt x="938937" y="467762"/>
                    </a:lnTo>
                    <a:cubicBezTo>
                      <a:pt x="938937" y="445705"/>
                      <a:pt x="925451" y="425960"/>
                      <a:pt x="905090" y="418213"/>
                    </a:cubicBezTo>
                    <a:close/>
                    <a:moveTo>
                      <a:pt x="221693" y="743208"/>
                    </a:moveTo>
                    <a:lnTo>
                      <a:pt x="78245" y="688634"/>
                    </a:lnTo>
                    <a:lnTo>
                      <a:pt x="78245" y="550613"/>
                    </a:lnTo>
                    <a:lnTo>
                      <a:pt x="221693" y="598431"/>
                    </a:lnTo>
                    <a:lnTo>
                      <a:pt x="221693" y="743208"/>
                    </a:lnTo>
                    <a:close/>
                    <a:moveTo>
                      <a:pt x="260816" y="529000"/>
                    </a:moveTo>
                    <a:lnTo>
                      <a:pt x="101915" y="476033"/>
                    </a:lnTo>
                    <a:lnTo>
                      <a:pt x="250580" y="419474"/>
                    </a:lnTo>
                    <a:lnTo>
                      <a:pt x="408808" y="479670"/>
                    </a:lnTo>
                    <a:lnTo>
                      <a:pt x="260816" y="529000"/>
                    </a:lnTo>
                    <a:close/>
                    <a:moveTo>
                      <a:pt x="430346" y="693594"/>
                    </a:moveTo>
                    <a:lnTo>
                      <a:pt x="299938" y="743211"/>
                    </a:lnTo>
                    <a:lnTo>
                      <a:pt x="299938" y="598431"/>
                    </a:lnTo>
                    <a:lnTo>
                      <a:pt x="430346" y="554959"/>
                    </a:lnTo>
                    <a:lnTo>
                      <a:pt x="430346" y="693594"/>
                    </a:lnTo>
                    <a:close/>
                    <a:moveTo>
                      <a:pt x="430346" y="396359"/>
                    </a:moveTo>
                    <a:lnTo>
                      <a:pt x="297449" y="345801"/>
                    </a:lnTo>
                    <a:cubicBezTo>
                      <a:pt x="294003" y="344489"/>
                      <a:pt x="290428" y="343781"/>
                      <a:pt x="286897" y="342852"/>
                    </a:cubicBezTo>
                    <a:lnTo>
                      <a:pt x="286897" y="211553"/>
                    </a:lnTo>
                    <a:lnTo>
                      <a:pt x="430346" y="259370"/>
                    </a:lnTo>
                    <a:lnTo>
                      <a:pt x="430346" y="396359"/>
                    </a:lnTo>
                    <a:close/>
                    <a:moveTo>
                      <a:pt x="310568" y="136972"/>
                    </a:moveTo>
                    <a:lnTo>
                      <a:pt x="460663" y="79868"/>
                    </a:lnTo>
                    <a:cubicBezTo>
                      <a:pt x="463499" y="78792"/>
                      <a:pt x="466459" y="78245"/>
                      <a:pt x="469469" y="78245"/>
                    </a:cubicBezTo>
                    <a:cubicBezTo>
                      <a:pt x="472478" y="78245"/>
                      <a:pt x="475438" y="78792"/>
                      <a:pt x="478278" y="79872"/>
                    </a:cubicBezTo>
                    <a:lnTo>
                      <a:pt x="628369" y="136972"/>
                    </a:lnTo>
                    <a:lnTo>
                      <a:pt x="469469" y="189939"/>
                    </a:lnTo>
                    <a:lnTo>
                      <a:pt x="310568" y="136972"/>
                    </a:lnTo>
                    <a:close/>
                    <a:moveTo>
                      <a:pt x="652040" y="211553"/>
                    </a:moveTo>
                    <a:lnTo>
                      <a:pt x="652040" y="342852"/>
                    </a:lnTo>
                    <a:cubicBezTo>
                      <a:pt x="648509" y="343780"/>
                      <a:pt x="644934" y="344489"/>
                      <a:pt x="641488" y="345801"/>
                    </a:cubicBezTo>
                    <a:lnTo>
                      <a:pt x="508591" y="396359"/>
                    </a:lnTo>
                    <a:lnTo>
                      <a:pt x="508591" y="259370"/>
                    </a:lnTo>
                    <a:lnTo>
                      <a:pt x="652040" y="211553"/>
                    </a:lnTo>
                    <a:close/>
                    <a:moveTo>
                      <a:pt x="638999" y="743208"/>
                    </a:moveTo>
                    <a:lnTo>
                      <a:pt x="508591" y="693594"/>
                    </a:lnTo>
                    <a:lnTo>
                      <a:pt x="508591" y="554959"/>
                    </a:lnTo>
                    <a:lnTo>
                      <a:pt x="638999" y="598431"/>
                    </a:lnTo>
                    <a:lnTo>
                      <a:pt x="638999" y="743208"/>
                    </a:lnTo>
                    <a:close/>
                    <a:moveTo>
                      <a:pt x="678121" y="529000"/>
                    </a:moveTo>
                    <a:lnTo>
                      <a:pt x="530129" y="479670"/>
                    </a:lnTo>
                    <a:lnTo>
                      <a:pt x="688353" y="419474"/>
                    </a:lnTo>
                    <a:lnTo>
                      <a:pt x="837022" y="476033"/>
                    </a:lnTo>
                    <a:lnTo>
                      <a:pt x="678121" y="529000"/>
                    </a:lnTo>
                    <a:close/>
                    <a:moveTo>
                      <a:pt x="860692" y="688634"/>
                    </a:moveTo>
                    <a:lnTo>
                      <a:pt x="717244" y="743211"/>
                    </a:lnTo>
                    <a:lnTo>
                      <a:pt x="717244" y="598431"/>
                    </a:lnTo>
                    <a:lnTo>
                      <a:pt x="860692" y="550613"/>
                    </a:lnTo>
                    <a:lnTo>
                      <a:pt x="860692" y="688634"/>
                    </a:lnTo>
                    <a:close/>
                  </a:path>
                </a:pathLst>
              </a:custGeom>
              <a:solidFill>
                <a:schemeClr val="bg1"/>
              </a:solidFill>
              <a:ln w="1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4" name="grey">
              <a:extLst>
                <a:ext uri="{FF2B5EF4-FFF2-40B4-BE49-F238E27FC236}">
                  <a16:creationId xmlns:a16="http://schemas.microsoft.com/office/drawing/2014/main" id="{449BAFBD-79CD-4989-0F92-7C40B9534408}"/>
                </a:ext>
              </a:extLst>
            </p:cNvPr>
            <p:cNvGrpSpPr/>
            <p:nvPr/>
          </p:nvGrpSpPr>
          <p:grpSpPr>
            <a:xfrm>
              <a:off x="2899864" y="1773538"/>
              <a:ext cx="2017644" cy="3702591"/>
              <a:chOff x="2899864" y="1773538"/>
              <a:chExt cx="2017644" cy="370259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8B4D636-DEDA-E937-709F-141EDEF96228}"/>
                  </a:ext>
                </a:extLst>
              </p:cNvPr>
              <p:cNvSpPr/>
              <p:nvPr/>
            </p:nvSpPr>
            <p:spPr>
              <a:xfrm>
                <a:off x="2901207" y="1781555"/>
                <a:ext cx="2012490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rgbClr val="667888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3C2E527-0887-C764-618B-F4A3A199B2CA}"/>
                  </a:ext>
                </a:extLst>
              </p:cNvPr>
              <p:cNvSpPr/>
              <p:nvPr/>
            </p:nvSpPr>
            <p:spPr>
              <a:xfrm>
                <a:off x="2899864" y="1773538"/>
                <a:ext cx="2017644" cy="2156791"/>
              </a:xfrm>
              <a:prstGeom prst="rect">
                <a:avLst/>
              </a:prstGeom>
              <a:solidFill>
                <a:srgbClr val="667888"/>
              </a:solidFill>
              <a:ln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5" name="navy">
              <a:extLst>
                <a:ext uri="{FF2B5EF4-FFF2-40B4-BE49-F238E27FC236}">
                  <a16:creationId xmlns:a16="http://schemas.microsoft.com/office/drawing/2014/main" id="{02792226-20FD-1DC7-3843-2905C67D58F5}"/>
                </a:ext>
              </a:extLst>
            </p:cNvPr>
            <p:cNvGrpSpPr/>
            <p:nvPr/>
          </p:nvGrpSpPr>
          <p:grpSpPr>
            <a:xfrm>
              <a:off x="757154" y="1773538"/>
              <a:ext cx="2017644" cy="3702591"/>
              <a:chOff x="757154" y="1773538"/>
              <a:chExt cx="2017644" cy="3702591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1E48A32D-9F58-D0F3-5C70-C9C28EAE2FE6}"/>
                  </a:ext>
                </a:extLst>
              </p:cNvPr>
              <p:cNvSpPr/>
              <p:nvPr/>
            </p:nvSpPr>
            <p:spPr>
              <a:xfrm>
                <a:off x="758950" y="1781555"/>
                <a:ext cx="2015846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tx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4713FAC5-A191-78EA-F0A9-4D3E96CC305F}"/>
                  </a:ext>
                </a:extLst>
              </p:cNvPr>
              <p:cNvSpPr/>
              <p:nvPr/>
            </p:nvSpPr>
            <p:spPr>
              <a:xfrm>
                <a:off x="757154" y="1773538"/>
                <a:ext cx="2017644" cy="2156791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</p:grp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BA09068-21F1-0393-484F-870B7125C63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962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6" name="Picture Placeholder 34">
            <a:extLst>
              <a:ext uri="{FF2B5EF4-FFF2-40B4-BE49-F238E27FC236}">
                <a16:creationId xmlns:a16="http://schemas.microsoft.com/office/drawing/2014/main" id="{422BFF1B-B11A-1393-BFB1-CE8B0EAD08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25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Picture Placeholder 34">
            <a:extLst>
              <a:ext uri="{FF2B5EF4-FFF2-40B4-BE49-F238E27FC236}">
                <a16:creationId xmlns:a16="http://schemas.microsoft.com/office/drawing/2014/main" id="{97DC366D-4449-876A-F60F-0BA8783AB9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8743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0D03CD74-D598-9D08-6761-1DACAD2B87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40525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9" name="Picture Placeholder 34">
            <a:extLst>
              <a:ext uri="{FF2B5EF4-FFF2-40B4-BE49-F238E27FC236}">
                <a16:creationId xmlns:a16="http://schemas.microsoft.com/office/drawing/2014/main" id="{B04AB626-AD9E-ED3C-C2E2-3BF5A1FCA2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47438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A339793-3B6F-68FC-BB57-7F3466979D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10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921BB216-DA44-3E7D-3EF3-2987AE7DAF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27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A6835B62-7630-4965-8149-BBD4B7E031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563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4A07CC8E-7656-FD36-9E35-C279C2433F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05055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0">
            <a:extLst>
              <a:ext uri="{FF2B5EF4-FFF2-40B4-BE49-F238E27FC236}">
                <a16:creationId xmlns:a16="http://schemas.microsoft.com/office/drawing/2014/main" id="{ECEFE3AC-B664-7328-D7BF-F99711772C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778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2C534E6-2ADF-7EAD-9032-D27F7FD65E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7764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tx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2F7B0117-0731-F79A-7317-AD49F92893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0445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6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502B17F2-3455-965D-ABAC-69BA7656EC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2354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F91223B9-525C-E9A3-95C9-7089B304C5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82749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A678B3F4-3DCB-E48C-7BC5-35C972EA5AE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4170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3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0A892FD-1418-02EC-C808-1E58D1AE179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1068" y="5554663"/>
            <a:ext cx="10571562" cy="368300"/>
          </a:xfrm>
          <a:solidFill>
            <a:schemeClr val="tx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52">
            <a:extLst>
              <a:ext uri="{FF2B5EF4-FFF2-40B4-BE49-F238E27FC236}">
                <a16:creationId xmlns:a16="http://schemas.microsoft.com/office/drawing/2014/main" id="{B51D7DB3-6688-03D4-4645-CF35E667D29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1068" y="5999163"/>
            <a:ext cx="10571562" cy="3683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5" name="ideagen logo">
            <a:extLst>
              <a:ext uri="{FF2B5EF4-FFF2-40B4-BE49-F238E27FC236}">
                <a16:creationId xmlns:a16="http://schemas.microsoft.com/office/drawing/2014/main" id="{2390DE35-7DAC-8355-C33A-3E09684D5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1843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av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31642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89528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881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F568C36B-BC88-0A3A-08A7-CDC492089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435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18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3016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10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443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FEE312-B092-146C-118B-0610FAE6D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0287920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03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0250E6-DAD5-B960-4E6A-D0E33A3DF438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890C339-1906-EB5B-12C4-751D066741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61081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A5CCB5C-8D00-1DA0-67F9-2BBD21220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54"/>
          <a:stretch/>
        </p:blipFill>
        <p:spPr>
          <a:xfrm>
            <a:off x="-1" y="-1"/>
            <a:ext cx="9594575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7921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3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B424D9-AA5C-5445-0052-3050A1E6F2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88"/>
            <a:ext cx="11197098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37271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3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79D3CB-5908-18CE-562C-51157D2A0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88"/>
            <a:ext cx="9616776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5159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4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511CBBA-F507-EBA6-36A8-C1C0AD2BE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842549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7726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4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399263-3593-374B-5010-164A33A468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48"/>
          <a:stretch/>
        </p:blipFill>
        <p:spPr>
          <a:xfrm>
            <a:off x="-2" y="0"/>
            <a:ext cx="7753264" cy="6864894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7753261" y="0"/>
            <a:ext cx="443873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34992" y="5887985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0386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5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304801-AE5F-22EC-6619-D3F033EDD9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58202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752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5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A561F1-8DD5-398A-375A-3F3ED993D5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71"/>
          <a:stretch/>
        </p:blipFill>
        <p:spPr>
          <a:xfrm>
            <a:off x="-1" y="1"/>
            <a:ext cx="1024398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162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6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786490-AFDF-C180-6306-FA04CD1C90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945909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1155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6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09C58A-0468-5EAA-C164-6F00A3228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429073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47200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4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399263-3593-374B-5010-164A33A468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389"/>
            <a:ext cx="6997149" cy="6853611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585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1F17272-9824-4218-50BF-E25F7E24FA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06597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1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18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4947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1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10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2364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2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FEE312-B092-146C-118B-0610FAE6D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0287920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174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2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A5CCB5C-8D00-1DA0-67F9-2BBD21220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54"/>
          <a:stretch/>
        </p:blipFill>
        <p:spPr>
          <a:xfrm>
            <a:off x="-1" y="-1"/>
            <a:ext cx="9594575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143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3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B424D9-AA5C-5445-0052-3050A1E6F2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88"/>
            <a:ext cx="11197098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9739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3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79D3CB-5908-18CE-562C-51157D2A0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88"/>
            <a:ext cx="9616776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8039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4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511CBBA-F507-EBA6-36A8-C1C0AD2BE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842549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00825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04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399263-3593-374B-5010-164A33A468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389"/>
            <a:ext cx="6997149" cy="6853611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3707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5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304801-AE5F-22EC-6619-D3F033EDD9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58202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2391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5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A561F1-8DD5-398A-375A-3F3ED993D5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71"/>
          <a:stretch/>
        </p:blipFill>
        <p:spPr>
          <a:xfrm>
            <a:off x="-1" y="1"/>
            <a:ext cx="1024398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29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6CE23B1-3AE3-3C04-800A-04AAEC4EEE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36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6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786490-AFDF-C180-6306-FA04CD1C90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945909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1206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06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09C58A-0468-5EAA-C164-6F00A3228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429073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3248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avy with Magenta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2627504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with Magenta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1908268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avy with Teal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1492953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with Teal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193954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EAF29DC-A31E-2465-D650-6E70B58C10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535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 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deagen logo">
            <a:extLst>
              <a:ext uri="{FF2B5EF4-FFF2-40B4-BE49-F238E27FC236}">
                <a16:creationId xmlns:a16="http://schemas.microsoft.com/office/drawing/2014/main" id="{38E9F67A-97B9-D104-5C31-E7E4B6958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E74E3CD-B1F5-B1CB-3395-8331D47C21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4021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Back 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deagen logo">
            <a:extLst>
              <a:ext uri="{FF2B5EF4-FFF2-40B4-BE49-F238E27FC236}">
                <a16:creationId xmlns:a16="http://schemas.microsoft.com/office/drawing/2014/main" id="{38E9F67A-97B9-D104-5C31-E7E4B6958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E74E3CD-B1F5-B1CB-3395-8331D47C21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6730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6D36E11-575E-C2CE-0EC2-7F9A5E087E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0200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3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64CA3426-7F2A-E891-BED8-EDB05B386F6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D1C7717D-96A1-5559-CEE9-143568A3F28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BB770B-3EDF-644A-7114-1B9536E890E0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7F9DFD1-A024-7B01-D56C-50052D2E81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740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deagen logo">
            <a:extLst>
              <a:ext uri="{FF2B5EF4-FFF2-40B4-BE49-F238E27FC236}">
                <a16:creationId xmlns:a16="http://schemas.microsoft.com/office/drawing/2014/main" id="{0E788E8D-0FE9-9138-6AD8-AD48E0CB22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78202960-BFCE-3C2B-741D-808F28008A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91969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ght Bac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deagen logo">
            <a:extLst>
              <a:ext uri="{FF2B5EF4-FFF2-40B4-BE49-F238E27FC236}">
                <a16:creationId xmlns:a16="http://schemas.microsoft.com/office/drawing/2014/main" id="{0E788E8D-0FE9-9138-6AD8-AD48E0CB22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78202960-BFCE-3C2B-741D-808F28008A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529580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Hea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F8B0BD0-EBED-B714-E007-2656DE56B4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744BC4-458B-9C97-3224-BD5266C349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374" y="2027237"/>
            <a:ext cx="4954309" cy="4164841"/>
          </a:xfrm>
        </p:spPr>
        <p:txBody>
          <a:bodyPr/>
          <a:lstStyle>
            <a:lvl1pPr marL="0" indent="0">
              <a:buNone/>
              <a:defRPr sz="3200" b="1" i="0">
                <a:latin typeface="+mj-lt"/>
              </a:defRPr>
            </a:lvl1pPr>
            <a:lvl2pPr marL="385200" indent="0">
              <a:buNone/>
              <a:defRPr sz="2800" b="1" i="0">
                <a:latin typeface="+mj-lt"/>
              </a:defRPr>
            </a:lvl2pPr>
            <a:lvl3pPr marL="842400" indent="0">
              <a:buNone/>
              <a:defRPr sz="2400" b="1" i="0">
                <a:latin typeface="+mj-lt"/>
              </a:defRPr>
            </a:lvl3pPr>
            <a:lvl4pPr marL="1299600" indent="0">
              <a:buNone/>
              <a:defRPr sz="2000" b="1" i="0">
                <a:latin typeface="+mj-lt"/>
              </a:defRPr>
            </a:lvl4pPr>
            <a:lvl5pPr marL="1756800" indent="0">
              <a:buNone/>
              <a:defRPr sz="1800" b="1" i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538892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Hea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F8B0BD0-EBED-B714-E007-2656DE56B4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744BC4-458B-9C97-3224-BD5266C349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374" y="2365512"/>
            <a:ext cx="4954309" cy="3826565"/>
          </a:xfrm>
        </p:spPr>
        <p:txBody>
          <a:bodyPr/>
          <a:lstStyle>
            <a:lvl1pPr marL="0" indent="0">
              <a:buNone/>
              <a:defRPr sz="3200" b="1" i="0">
                <a:latin typeface="+mj-lt"/>
              </a:defRPr>
            </a:lvl1pPr>
            <a:lvl2pPr marL="385200" indent="0">
              <a:buNone/>
              <a:defRPr sz="2800" b="1" i="0">
                <a:latin typeface="+mj-lt"/>
              </a:defRPr>
            </a:lvl2pPr>
            <a:lvl3pPr marL="842400" indent="0">
              <a:buNone/>
              <a:defRPr sz="2400" b="1" i="0">
                <a:latin typeface="+mj-lt"/>
              </a:defRPr>
            </a:lvl3pPr>
            <a:lvl4pPr marL="1299600" indent="0">
              <a:buNone/>
              <a:defRPr sz="2000" b="1" i="0">
                <a:latin typeface="+mj-lt"/>
              </a:defRPr>
            </a:lvl4pPr>
            <a:lvl5pPr marL="1756800" indent="0">
              <a:buNone/>
              <a:defRPr sz="1800" b="1" i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580938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1085020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1085020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1085020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1085020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2402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793CB768-1723-B5F0-50F8-E6FB07A586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1085020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1085020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1085020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1085020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90418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Features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793CB768-1723-B5F0-50F8-E6FB07A586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1085020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1085020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1085020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1085020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5996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449488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449488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449488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449488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FFA745EE-7E27-A6A0-33EE-DA5F6AAEC7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043655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s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4494882" cy="1057911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449488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AD29E82C-C451-3F46-FABA-7AFC5B2CFC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899" y="3715209"/>
            <a:ext cx="4494882" cy="1057911"/>
          </a:xfrm>
          <a:ln>
            <a:solidFill>
              <a:schemeClr val="accent6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6"/>
              </a:buClr>
              <a:defRPr sz="1400"/>
            </a:lvl1pPr>
            <a:lvl2pPr>
              <a:buClr>
                <a:schemeClr val="accent6"/>
              </a:buClr>
              <a:defRPr sz="1400"/>
            </a:lvl2pPr>
            <a:lvl3pPr>
              <a:buClr>
                <a:schemeClr val="accent6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177F273F-FB19-029D-3F58-03A27EFB0D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899" y="3355210"/>
            <a:ext cx="4494882" cy="359999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5318135"/>
            <a:ext cx="4494882" cy="1057911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958136"/>
            <a:ext cx="449488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FFA745EE-7E27-A6A0-33EE-DA5F6AAEC7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6569847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635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1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28082"/>
            <a:ext cx="5688013" cy="71629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EBD6D6F-D9B3-72F2-AF2E-899A969E6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2429623"/>
            <a:ext cx="5688013" cy="215444"/>
          </a:xfrm>
        </p:spPr>
        <p:txBody>
          <a:bodyPr wrap="square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D4720AED-5B7D-B6B7-6897-A0443F92A73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9DDBEB2D-EFEA-CEE5-E66D-BE2B7C922C9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23D3BA-E67B-BE3C-90AA-591D066DF507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7122B6F-4988-64DB-2064-99B7AE01D0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9270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016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Dark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655E18BB-4AAC-E57D-967D-C3200CB2A3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715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A4DE201C-6643-B6FA-AE3B-A4FE8844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02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etails Nav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172478" y="1016919"/>
            <a:ext cx="3566160" cy="4305768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2172478" y="5322688"/>
            <a:ext cx="3592524" cy="1167816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22364" y="1002815"/>
            <a:ext cx="3566160" cy="4319872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6096000" y="5322687"/>
            <a:ext cx="3592524" cy="1167816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9" name="ideagen logo">
            <a:extLst>
              <a:ext uri="{FF2B5EF4-FFF2-40B4-BE49-F238E27FC236}">
                <a16:creationId xmlns:a16="http://schemas.microsoft.com/office/drawing/2014/main" id="{D5F8B114-1ABE-10A5-C086-9223473F4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70536E3-E72D-89AA-0AB0-24ACB98ED9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172478" y="5559429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2CC9AC8-2575-B9A5-87BF-47E60D1647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72478" y="5813395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5EBB976-1B8D-CD67-2823-D6AF2811C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5559429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47B43C2-B683-9D64-34CA-74C8832A783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0" y="5813395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089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</p:bld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etails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3074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473074" y="3940384"/>
            <a:ext cx="3592524" cy="2059412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251726A-6A89-E1B7-9A6E-0AAA29F9794D}"/>
              </a:ext>
            </a:extLst>
          </p:cNvPr>
          <p:cNvSpPr/>
          <p:nvPr userDrawn="1"/>
        </p:nvSpPr>
        <p:spPr>
          <a:xfrm>
            <a:off x="684734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ACE048C0-9F2D-2ECA-91B2-D4447E98E3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8519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17517A-C989-B25F-B807-97F564A4B7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064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1CDA978-5807-86E5-B39E-ECB39CEF4A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064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CAB902-04E3-93EE-4E9B-E3647176A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11332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DD619D79-E83A-955E-B71B-6188063FC6F5}"/>
              </a:ext>
            </a:extLst>
          </p:cNvPr>
          <p:cNvSpPr/>
          <p:nvPr userDrawn="1"/>
        </p:nvSpPr>
        <p:spPr>
          <a:xfrm>
            <a:off x="4298150" y="3901589"/>
            <a:ext cx="3592524" cy="2098207"/>
          </a:xfrm>
          <a:custGeom>
            <a:avLst/>
            <a:gdLst>
              <a:gd name="connsiteX0" fmla="*/ 1796262 w 3592524"/>
              <a:gd name="connsiteY0" fmla="*/ 0 h 2098207"/>
              <a:gd name="connsiteX1" fmla="*/ 2060244 w 3592524"/>
              <a:gd name="connsiteY1" fmla="*/ 236070 h 2098207"/>
              <a:gd name="connsiteX2" fmla="*/ 3592524 w 3592524"/>
              <a:gd name="connsiteY2" fmla="*/ 236070 h 2098207"/>
              <a:gd name="connsiteX3" fmla="*/ 3592524 w 3592524"/>
              <a:gd name="connsiteY3" fmla="*/ 2098207 h 2098207"/>
              <a:gd name="connsiteX4" fmla="*/ 0 w 3592524"/>
              <a:gd name="connsiteY4" fmla="*/ 2098207 h 2098207"/>
              <a:gd name="connsiteX5" fmla="*/ 0 w 3592524"/>
              <a:gd name="connsiteY5" fmla="*/ 236070 h 2098207"/>
              <a:gd name="connsiteX6" fmla="*/ 1532280 w 3592524"/>
              <a:gd name="connsiteY6" fmla="*/ 236070 h 209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8207">
                <a:moveTo>
                  <a:pt x="1796262" y="0"/>
                </a:moveTo>
                <a:lnTo>
                  <a:pt x="2060244" y="236070"/>
                </a:lnTo>
                <a:lnTo>
                  <a:pt x="3592524" y="236070"/>
                </a:lnTo>
                <a:lnTo>
                  <a:pt x="3592524" y="2098207"/>
                </a:lnTo>
                <a:lnTo>
                  <a:pt x="0" y="2098207"/>
                </a:lnTo>
                <a:lnTo>
                  <a:pt x="0" y="236070"/>
                </a:lnTo>
                <a:lnTo>
                  <a:pt x="1532280" y="2360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B83BDC2E-7569-31F7-CD8A-F13C87A819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63595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C2B3448-E046-0664-2FAC-31519AF448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98343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56A70D-0246-42B5-2E23-1F487CBA51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8343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49590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8123226" y="3907378"/>
            <a:ext cx="3592524" cy="2092417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15F740-DE3E-72C0-9452-F35DF96B836F}"/>
              </a:ext>
            </a:extLst>
          </p:cNvPr>
          <p:cNvSpPr/>
          <p:nvPr userDrawn="1"/>
        </p:nvSpPr>
        <p:spPr>
          <a:xfrm>
            <a:off x="8334886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912C738-FC4F-65AF-9B9A-48C87763A9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88671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FF8BE6B-ED1A-7C3C-6BA6-6A9C6148E2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3226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EC68AEF-751F-2B28-7262-84A2E5EAFB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3226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57CE7930-C081-0256-F81B-19AE539DE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422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>
            <a:off x="0" y="0"/>
            <a:ext cx="75628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ideagen logo">
            <a:extLst>
              <a:ext uri="{FF2B5EF4-FFF2-40B4-BE49-F238E27FC236}">
                <a16:creationId xmlns:a16="http://schemas.microsoft.com/office/drawing/2014/main" id="{5F9D36B5-05D0-6920-020E-F0A7762A0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2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chemeClr val="accent2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/>
              <a:t>Insert person/</a:t>
            </a:r>
            <a:br>
              <a:rPr lang="en-GB"/>
            </a:br>
            <a:r>
              <a:rPr lang="en-GB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21238320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 flipH="1">
            <a:off x="7562850" y="0"/>
            <a:ext cx="46291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0BF7D6C6-C06C-098C-E8FB-1DE5455E1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5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rgbClr val="36EEFF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erson/</a:t>
            </a:r>
            <a:br>
              <a:rPr lang="en-GB"/>
            </a:br>
            <a:r>
              <a:rPr lang="en-GB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26816144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Quote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2539354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Quote Light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C97C9DC2-37E5-D9C0-91F3-834E9EF75B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44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istics Dark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655E18BB-4AAC-E57D-967D-C3200CB2A3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147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CB69E553-975D-3C94-B960-AFB3D7F9B9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4F0F67D4-BF9D-5EC0-B3B9-142C70418D3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7A11D0-C387-E1DD-80EF-270102EBE585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B06ACF0-D086-2A0F-FF23-B7AAA26238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30293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istics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A4DE201C-6643-B6FA-AE3B-A4FE8844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/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1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248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etails Nav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3074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473074" y="3940384"/>
            <a:ext cx="3592524" cy="2059412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251726A-6A89-E1B7-9A6E-0AAA29F9794D}"/>
              </a:ext>
            </a:extLst>
          </p:cNvPr>
          <p:cNvSpPr/>
          <p:nvPr userDrawn="1"/>
        </p:nvSpPr>
        <p:spPr>
          <a:xfrm>
            <a:off x="684734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ACE048C0-9F2D-2ECA-91B2-D4447E98E3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8519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CAB902-04E3-93EE-4E9B-E3647176A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11332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DD619D79-E83A-955E-B71B-6188063FC6F5}"/>
              </a:ext>
            </a:extLst>
          </p:cNvPr>
          <p:cNvSpPr/>
          <p:nvPr userDrawn="1"/>
        </p:nvSpPr>
        <p:spPr>
          <a:xfrm>
            <a:off x="4298150" y="3901589"/>
            <a:ext cx="3592524" cy="2098207"/>
          </a:xfrm>
          <a:custGeom>
            <a:avLst/>
            <a:gdLst>
              <a:gd name="connsiteX0" fmla="*/ 1796262 w 3592524"/>
              <a:gd name="connsiteY0" fmla="*/ 0 h 2098207"/>
              <a:gd name="connsiteX1" fmla="*/ 2060244 w 3592524"/>
              <a:gd name="connsiteY1" fmla="*/ 236070 h 2098207"/>
              <a:gd name="connsiteX2" fmla="*/ 3592524 w 3592524"/>
              <a:gd name="connsiteY2" fmla="*/ 236070 h 2098207"/>
              <a:gd name="connsiteX3" fmla="*/ 3592524 w 3592524"/>
              <a:gd name="connsiteY3" fmla="*/ 2098207 h 2098207"/>
              <a:gd name="connsiteX4" fmla="*/ 0 w 3592524"/>
              <a:gd name="connsiteY4" fmla="*/ 2098207 h 2098207"/>
              <a:gd name="connsiteX5" fmla="*/ 0 w 3592524"/>
              <a:gd name="connsiteY5" fmla="*/ 236070 h 2098207"/>
              <a:gd name="connsiteX6" fmla="*/ 1532280 w 3592524"/>
              <a:gd name="connsiteY6" fmla="*/ 236070 h 209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8207">
                <a:moveTo>
                  <a:pt x="1796262" y="0"/>
                </a:moveTo>
                <a:lnTo>
                  <a:pt x="2060244" y="236070"/>
                </a:lnTo>
                <a:lnTo>
                  <a:pt x="3592524" y="236070"/>
                </a:lnTo>
                <a:lnTo>
                  <a:pt x="3592524" y="2098207"/>
                </a:lnTo>
                <a:lnTo>
                  <a:pt x="0" y="2098207"/>
                </a:lnTo>
                <a:lnTo>
                  <a:pt x="0" y="236070"/>
                </a:lnTo>
                <a:lnTo>
                  <a:pt x="1532280" y="2360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B83BDC2E-7569-31F7-CD8A-F13C87A819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63595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49590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8123226" y="3907378"/>
            <a:ext cx="3592524" cy="2092417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15F740-DE3E-72C0-9452-F35DF96B836F}"/>
              </a:ext>
            </a:extLst>
          </p:cNvPr>
          <p:cNvSpPr/>
          <p:nvPr userDrawn="1"/>
        </p:nvSpPr>
        <p:spPr>
          <a:xfrm>
            <a:off x="8334886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912C738-FC4F-65AF-9B9A-48C87763A9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88671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pic>
        <p:nvPicPr>
          <p:cNvPr id="29" name="ideagen logo">
            <a:extLst>
              <a:ext uri="{FF2B5EF4-FFF2-40B4-BE49-F238E27FC236}">
                <a16:creationId xmlns:a16="http://schemas.microsoft.com/office/drawing/2014/main" id="{D5F8B114-1ABE-10A5-C086-9223473F4E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70536E3-E72D-89AA-0AB0-24ACB98ED9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3074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2CC9AC8-2575-B9A5-87BF-47E60D1647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3074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577D15B-AF46-A940-EC8F-F4E854E38F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8343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5C32AA5-A7B0-1C2E-A947-282E4EE4F2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98343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5EBB976-1B8D-CD67-2823-D6AF2811C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3226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47B43C2-B683-9D64-34CA-74C8832A783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23226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5419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Details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D5F028-2430-6FFD-BCB2-C07E9FB902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3074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Freeform: Shape 18">
            <a:extLst>
              <a:ext uri="{FF2B5EF4-FFF2-40B4-BE49-F238E27FC236}">
                <a16:creationId xmlns:a16="http://schemas.microsoft.com/office/drawing/2014/main" id="{A21F5135-8403-58FF-0B4F-DD0314E21004}"/>
              </a:ext>
            </a:extLst>
          </p:cNvPr>
          <p:cNvSpPr/>
          <p:nvPr userDrawn="1"/>
        </p:nvSpPr>
        <p:spPr>
          <a:xfrm>
            <a:off x="473074" y="3940384"/>
            <a:ext cx="3592524" cy="2059412"/>
          </a:xfrm>
          <a:custGeom>
            <a:avLst/>
            <a:gdLst>
              <a:gd name="connsiteX0" fmla="*/ 1796262 w 3592524"/>
              <a:gd name="connsiteY0" fmla="*/ 0 h 2059412"/>
              <a:gd name="connsiteX1" fmla="*/ 2016862 w 3592524"/>
              <a:gd name="connsiteY1" fmla="*/ 197275 h 2059412"/>
              <a:gd name="connsiteX2" fmla="*/ 3592524 w 3592524"/>
              <a:gd name="connsiteY2" fmla="*/ 197275 h 2059412"/>
              <a:gd name="connsiteX3" fmla="*/ 3592524 w 3592524"/>
              <a:gd name="connsiteY3" fmla="*/ 2059412 h 2059412"/>
              <a:gd name="connsiteX4" fmla="*/ 0 w 3592524"/>
              <a:gd name="connsiteY4" fmla="*/ 2059412 h 2059412"/>
              <a:gd name="connsiteX5" fmla="*/ 0 w 3592524"/>
              <a:gd name="connsiteY5" fmla="*/ 197275 h 2059412"/>
              <a:gd name="connsiteX6" fmla="*/ 1575662 w 3592524"/>
              <a:gd name="connsiteY6" fmla="*/ 197275 h 205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59412">
                <a:moveTo>
                  <a:pt x="1796262" y="0"/>
                </a:moveTo>
                <a:lnTo>
                  <a:pt x="2016862" y="197275"/>
                </a:lnTo>
                <a:lnTo>
                  <a:pt x="3592524" y="197275"/>
                </a:lnTo>
                <a:lnTo>
                  <a:pt x="3592524" y="2059412"/>
                </a:lnTo>
                <a:lnTo>
                  <a:pt x="0" y="2059412"/>
                </a:lnTo>
                <a:lnTo>
                  <a:pt x="0" y="197275"/>
                </a:lnTo>
                <a:lnTo>
                  <a:pt x="1575662" y="19727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251726A-6A89-E1B7-9A6E-0AAA29F9794D}"/>
              </a:ext>
            </a:extLst>
          </p:cNvPr>
          <p:cNvSpPr/>
          <p:nvPr userDrawn="1"/>
        </p:nvSpPr>
        <p:spPr>
          <a:xfrm>
            <a:off x="684734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ACE048C0-9F2D-2ECA-91B2-D4447E98E3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8519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17517A-C989-B25F-B807-97F564A4B7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064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1CDA978-5807-86E5-B39E-ECB39CEF4A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064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80CAB902-04E3-93EE-4E9B-E3647176A61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11332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0" name="Freeform: Shape 19">
            <a:extLst>
              <a:ext uri="{FF2B5EF4-FFF2-40B4-BE49-F238E27FC236}">
                <a16:creationId xmlns:a16="http://schemas.microsoft.com/office/drawing/2014/main" id="{DD619D79-E83A-955E-B71B-6188063FC6F5}"/>
              </a:ext>
            </a:extLst>
          </p:cNvPr>
          <p:cNvSpPr/>
          <p:nvPr userDrawn="1"/>
        </p:nvSpPr>
        <p:spPr>
          <a:xfrm>
            <a:off x="4298150" y="3901589"/>
            <a:ext cx="3592524" cy="2098207"/>
          </a:xfrm>
          <a:custGeom>
            <a:avLst/>
            <a:gdLst>
              <a:gd name="connsiteX0" fmla="*/ 1796262 w 3592524"/>
              <a:gd name="connsiteY0" fmla="*/ 0 h 2098207"/>
              <a:gd name="connsiteX1" fmla="*/ 2060244 w 3592524"/>
              <a:gd name="connsiteY1" fmla="*/ 236070 h 2098207"/>
              <a:gd name="connsiteX2" fmla="*/ 3592524 w 3592524"/>
              <a:gd name="connsiteY2" fmla="*/ 236070 h 2098207"/>
              <a:gd name="connsiteX3" fmla="*/ 3592524 w 3592524"/>
              <a:gd name="connsiteY3" fmla="*/ 2098207 h 2098207"/>
              <a:gd name="connsiteX4" fmla="*/ 0 w 3592524"/>
              <a:gd name="connsiteY4" fmla="*/ 2098207 h 2098207"/>
              <a:gd name="connsiteX5" fmla="*/ 0 w 3592524"/>
              <a:gd name="connsiteY5" fmla="*/ 236070 h 2098207"/>
              <a:gd name="connsiteX6" fmla="*/ 1532280 w 3592524"/>
              <a:gd name="connsiteY6" fmla="*/ 236070 h 209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8207">
                <a:moveTo>
                  <a:pt x="1796262" y="0"/>
                </a:moveTo>
                <a:lnTo>
                  <a:pt x="2060244" y="236070"/>
                </a:lnTo>
                <a:lnTo>
                  <a:pt x="3592524" y="236070"/>
                </a:lnTo>
                <a:lnTo>
                  <a:pt x="3592524" y="2098207"/>
                </a:lnTo>
                <a:lnTo>
                  <a:pt x="0" y="2098207"/>
                </a:lnTo>
                <a:lnTo>
                  <a:pt x="0" y="236070"/>
                </a:lnTo>
                <a:lnTo>
                  <a:pt x="1532280" y="2360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3140703-4F9B-BBDB-965A-37C38636B0FE}"/>
              </a:ext>
            </a:extLst>
          </p:cNvPr>
          <p:cNvSpPr/>
          <p:nvPr userDrawn="1"/>
        </p:nvSpPr>
        <p:spPr>
          <a:xfrm>
            <a:off x="4509810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B83BDC2E-7569-31F7-CD8A-F13C87A819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63595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C2B3448-E046-0664-2FAC-31519AF448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98343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D56A70D-0246-42B5-2E23-1F487CBA51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8343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2F6664F-B6CE-10D1-CCB7-53E5B97B81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49590" y="2275523"/>
            <a:ext cx="3566160" cy="1862136"/>
          </a:xfrm>
        </p:spPr>
        <p:txBody>
          <a:bodyPr tIns="360000">
            <a:normAutofit/>
          </a:bodyPr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r>
              <a:rPr lang="en-US" sz="1800"/>
              <a:t>Click to add picture</a:t>
            </a:r>
            <a:endParaRPr lang="en-US"/>
          </a:p>
        </p:txBody>
      </p:sp>
      <p:sp>
        <p:nvSpPr>
          <p:cNvPr id="11" name="Freeform: Shape 20">
            <a:extLst>
              <a:ext uri="{FF2B5EF4-FFF2-40B4-BE49-F238E27FC236}">
                <a16:creationId xmlns:a16="http://schemas.microsoft.com/office/drawing/2014/main" id="{C03C250D-233D-D0FF-1B72-868BF45DD3B5}"/>
              </a:ext>
            </a:extLst>
          </p:cNvPr>
          <p:cNvSpPr/>
          <p:nvPr userDrawn="1"/>
        </p:nvSpPr>
        <p:spPr>
          <a:xfrm>
            <a:off x="8123226" y="3907378"/>
            <a:ext cx="3592524" cy="2092417"/>
          </a:xfrm>
          <a:custGeom>
            <a:avLst/>
            <a:gdLst>
              <a:gd name="connsiteX0" fmla="*/ 1796262 w 3592524"/>
              <a:gd name="connsiteY0" fmla="*/ 0 h 2092417"/>
              <a:gd name="connsiteX1" fmla="*/ 2053769 w 3592524"/>
              <a:gd name="connsiteY1" fmla="*/ 230280 h 2092417"/>
              <a:gd name="connsiteX2" fmla="*/ 3592524 w 3592524"/>
              <a:gd name="connsiteY2" fmla="*/ 230280 h 2092417"/>
              <a:gd name="connsiteX3" fmla="*/ 3592524 w 3592524"/>
              <a:gd name="connsiteY3" fmla="*/ 2092417 h 2092417"/>
              <a:gd name="connsiteX4" fmla="*/ 0 w 3592524"/>
              <a:gd name="connsiteY4" fmla="*/ 2092417 h 2092417"/>
              <a:gd name="connsiteX5" fmla="*/ 0 w 3592524"/>
              <a:gd name="connsiteY5" fmla="*/ 230280 h 2092417"/>
              <a:gd name="connsiteX6" fmla="*/ 1538755 w 3592524"/>
              <a:gd name="connsiteY6" fmla="*/ 230280 h 2092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2524" h="2092417">
                <a:moveTo>
                  <a:pt x="1796262" y="0"/>
                </a:moveTo>
                <a:lnTo>
                  <a:pt x="2053769" y="230280"/>
                </a:lnTo>
                <a:lnTo>
                  <a:pt x="3592524" y="230280"/>
                </a:lnTo>
                <a:lnTo>
                  <a:pt x="3592524" y="2092417"/>
                </a:lnTo>
                <a:lnTo>
                  <a:pt x="0" y="2092417"/>
                </a:lnTo>
                <a:lnTo>
                  <a:pt x="0" y="230280"/>
                </a:lnTo>
                <a:lnTo>
                  <a:pt x="1538755" y="23028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15F740-DE3E-72C0-9452-F35DF96B836F}"/>
              </a:ext>
            </a:extLst>
          </p:cNvPr>
          <p:cNvSpPr/>
          <p:nvPr userDrawn="1"/>
        </p:nvSpPr>
        <p:spPr>
          <a:xfrm>
            <a:off x="8334886" y="4320616"/>
            <a:ext cx="565149" cy="565149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9912C738-FC4F-65AF-9B9A-48C87763A9D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88671" y="4374401"/>
            <a:ext cx="457579" cy="45757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ic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FF8BE6B-ED1A-7C3C-6BA6-6A9C6148E2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3226" y="5068721"/>
            <a:ext cx="3592524" cy="295756"/>
          </a:xfrm>
        </p:spPr>
        <p:txBody>
          <a:bodyPr lIns="28800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EC68AEF-751F-2B28-7262-84A2E5EAFB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3226" y="5322687"/>
            <a:ext cx="3592524" cy="677108"/>
          </a:xfrm>
        </p:spPr>
        <p:txBody>
          <a:bodyPr lIns="288000" tIns="0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ideagen logo">
            <a:extLst>
              <a:ext uri="{FF2B5EF4-FFF2-40B4-BE49-F238E27FC236}">
                <a16:creationId xmlns:a16="http://schemas.microsoft.com/office/drawing/2014/main" id="{57CE7930-C081-0256-F81B-19AE539DE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044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>
            <a:off x="0" y="0"/>
            <a:ext cx="75628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ideagen logo">
            <a:extLst>
              <a:ext uri="{FF2B5EF4-FFF2-40B4-BE49-F238E27FC236}">
                <a16:creationId xmlns:a16="http://schemas.microsoft.com/office/drawing/2014/main" id="{5F9D36B5-05D0-6920-020E-F0A7762A0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2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chemeClr val="accent2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/>
              <a:t>Insert person/</a:t>
            </a:r>
            <a:br>
              <a:rPr lang="en-GB"/>
            </a:br>
            <a:r>
              <a:rPr lang="en-GB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266205415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C512F8-FDDF-8AB0-DCA7-8ECFA8E1F988}"/>
              </a:ext>
            </a:extLst>
          </p:cNvPr>
          <p:cNvSpPr/>
          <p:nvPr userDrawn="1"/>
        </p:nvSpPr>
        <p:spPr>
          <a:xfrm flipH="1">
            <a:off x="7562850" y="0"/>
            <a:ext cx="462915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0BF7D6C6-C06C-098C-E8FB-1DE5455E1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816" y="6353382"/>
            <a:ext cx="1037975" cy="338821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5C6D78D-DDA4-59E6-C3F5-F363A948A7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60680" y="4401204"/>
            <a:ext cx="2758038" cy="792163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A37467F1-0521-C8BD-327C-D628DF3D690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1222" y="1216152"/>
            <a:ext cx="2896954" cy="2894977"/>
          </a:xfrm>
          <a:prstGeom prst="ellipse">
            <a:avLst/>
          </a:prstGeom>
          <a:ln w="57150">
            <a:solidFill>
              <a:srgbClr val="36EEFF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erson/</a:t>
            </a:r>
            <a:br>
              <a:rPr lang="en-GB"/>
            </a:br>
            <a:r>
              <a:rPr lang="en-GB"/>
              <a:t>company image</a:t>
            </a:r>
          </a:p>
        </p:txBody>
      </p:sp>
    </p:spTree>
    <p:extLst>
      <p:ext uri="{BB962C8B-B14F-4D97-AF65-F5344CB8AC3E}">
        <p14:creationId xmlns:p14="http://schemas.microsoft.com/office/powerpoint/2010/main" val="34522392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Quote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solidFill>
            <a:srgbClr val="FFFFFF">
              <a:alpha val="5098"/>
            </a:srgbClr>
          </a:solidFill>
          <a:ln w="28575">
            <a:solidFill>
              <a:srgbClr val="36EEFF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54771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Quote Light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F115562-EDA1-5DC1-73C3-941AD4EC4D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7100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943C3B3-CCCF-AFF3-1891-2384F17D67A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33079" y="1906588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961EE862-C5D5-B974-0068-6826176231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7100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BC5BF7B-0337-AAD2-6F1B-78C6061199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3079" y="4246102"/>
            <a:ext cx="1440000" cy="1439862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to add photo</a:t>
            </a:r>
          </a:p>
        </p:txBody>
      </p:sp>
      <p:pic>
        <p:nvPicPr>
          <p:cNvPr id="3" name="ideagen logo">
            <a:extLst>
              <a:ext uri="{FF2B5EF4-FFF2-40B4-BE49-F238E27FC236}">
                <a16:creationId xmlns:a16="http://schemas.microsoft.com/office/drawing/2014/main" id="{C97C9DC2-37E5-D9C0-91F3-834E9EF75B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82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Fea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8">
            <a:extLst>
              <a:ext uri="{FF2B5EF4-FFF2-40B4-BE49-F238E27FC236}">
                <a16:creationId xmlns:a16="http://schemas.microsoft.com/office/drawing/2014/main" id="{A0202016-DDC5-074E-445E-D59E1C0BA2C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512769" y="1556968"/>
            <a:ext cx="2468495" cy="2468880"/>
          </a:xfrm>
          <a:custGeom>
            <a:avLst/>
            <a:gdLst>
              <a:gd name="connsiteX0" fmla="*/ 2032405 w 2032406"/>
              <a:gd name="connsiteY0" fmla="*/ 0 h 2033462"/>
              <a:gd name="connsiteX1" fmla="*/ 2032405 w 2032406"/>
              <a:gd name="connsiteY1" fmla="*/ 993220 h 2033462"/>
              <a:gd name="connsiteX2" fmla="*/ 2032405 w 2032406"/>
              <a:gd name="connsiteY2" fmla="*/ 1073682 h 2033462"/>
              <a:gd name="connsiteX3" fmla="*/ 2032406 w 2032406"/>
              <a:gd name="connsiteY3" fmla="*/ 1073682 h 2033462"/>
              <a:gd name="connsiteX4" fmla="*/ 2032406 w 2032406"/>
              <a:gd name="connsiteY4" fmla="*/ 1242628 h 2033462"/>
              <a:gd name="connsiteX5" fmla="*/ 2032406 w 2032406"/>
              <a:gd name="connsiteY5" fmla="*/ 1390485 h 2033462"/>
              <a:gd name="connsiteX6" fmla="*/ 2032406 w 2032406"/>
              <a:gd name="connsiteY6" fmla="*/ 1518658 h 2033462"/>
              <a:gd name="connsiteX7" fmla="*/ 2032406 w 2032406"/>
              <a:gd name="connsiteY7" fmla="*/ 1628555 h 2033462"/>
              <a:gd name="connsiteX8" fmla="*/ 2032406 w 2032406"/>
              <a:gd name="connsiteY8" fmla="*/ 1721580 h 2033462"/>
              <a:gd name="connsiteX9" fmla="*/ 2032406 w 2032406"/>
              <a:gd name="connsiteY9" fmla="*/ 1799141 h 2033462"/>
              <a:gd name="connsiteX10" fmla="*/ 2032406 w 2032406"/>
              <a:gd name="connsiteY10" fmla="*/ 1862642 h 2033462"/>
              <a:gd name="connsiteX11" fmla="*/ 2032406 w 2032406"/>
              <a:gd name="connsiteY11" fmla="*/ 1913490 h 2033462"/>
              <a:gd name="connsiteX12" fmla="*/ 2032406 w 2032406"/>
              <a:gd name="connsiteY12" fmla="*/ 1953090 h 2033462"/>
              <a:gd name="connsiteX13" fmla="*/ 2032406 w 2032406"/>
              <a:gd name="connsiteY13" fmla="*/ 1982849 h 2033462"/>
              <a:gd name="connsiteX14" fmla="*/ 2032406 w 2032406"/>
              <a:gd name="connsiteY14" fmla="*/ 2004172 h 2033462"/>
              <a:gd name="connsiteX15" fmla="*/ 2032406 w 2032406"/>
              <a:gd name="connsiteY15" fmla="*/ 2018466 h 2033462"/>
              <a:gd name="connsiteX16" fmla="*/ 2032406 w 2032406"/>
              <a:gd name="connsiteY16" fmla="*/ 2031588 h 2033462"/>
              <a:gd name="connsiteX17" fmla="*/ 2032406 w 2032406"/>
              <a:gd name="connsiteY17" fmla="*/ 2033462 h 2033462"/>
              <a:gd name="connsiteX18" fmla="*/ 1924268 w 2032406"/>
              <a:gd name="connsiteY18" fmla="*/ 2033462 h 2033462"/>
              <a:gd name="connsiteX19" fmla="*/ 1824574 w 2032406"/>
              <a:gd name="connsiteY19" fmla="*/ 2033462 h 2033462"/>
              <a:gd name="connsiteX20" fmla="*/ 1732981 w 2032406"/>
              <a:gd name="connsiteY20" fmla="*/ 2033462 h 2033462"/>
              <a:gd name="connsiteX21" fmla="*/ 1649145 w 2032406"/>
              <a:gd name="connsiteY21" fmla="*/ 2033462 h 2033462"/>
              <a:gd name="connsiteX22" fmla="*/ 1503371 w 2032406"/>
              <a:gd name="connsiteY22" fmla="*/ 2033462 h 2033462"/>
              <a:gd name="connsiteX23" fmla="*/ 1384508 w 2032406"/>
              <a:gd name="connsiteY23" fmla="*/ 2033462 h 2033462"/>
              <a:gd name="connsiteX24" fmla="*/ 1313344 w 2032406"/>
              <a:gd name="connsiteY24" fmla="*/ 2033462 h 2033462"/>
              <a:gd name="connsiteX25" fmla="*/ 1306948 w 2032406"/>
              <a:gd name="connsiteY25" fmla="*/ 2033462 h 2033462"/>
              <a:gd name="connsiteX26" fmla="*/ 1243446 w 2032406"/>
              <a:gd name="connsiteY26" fmla="*/ 2033462 h 2033462"/>
              <a:gd name="connsiteX27" fmla="*/ 1194026 w 2032406"/>
              <a:gd name="connsiteY27" fmla="*/ 2033462 h 2033462"/>
              <a:gd name="connsiteX28" fmla="*/ 1192599 w 2032406"/>
              <a:gd name="connsiteY28" fmla="*/ 2033462 h 2033462"/>
              <a:gd name="connsiteX29" fmla="*/ 1152999 w 2032406"/>
              <a:gd name="connsiteY29" fmla="*/ 2033462 h 2033462"/>
              <a:gd name="connsiteX30" fmla="*/ 1123240 w 2032406"/>
              <a:gd name="connsiteY30" fmla="*/ 2033462 h 2033462"/>
              <a:gd name="connsiteX31" fmla="*/ 1101917 w 2032406"/>
              <a:gd name="connsiteY31" fmla="*/ 2033462 h 2033462"/>
              <a:gd name="connsiteX32" fmla="*/ 1087623 w 2032406"/>
              <a:gd name="connsiteY32" fmla="*/ 2033462 h 2033462"/>
              <a:gd name="connsiteX33" fmla="*/ 1082162 w 2032406"/>
              <a:gd name="connsiteY33" fmla="*/ 2033462 h 2033462"/>
              <a:gd name="connsiteX34" fmla="*/ 1074501 w 2032406"/>
              <a:gd name="connsiteY34" fmla="*/ 2033462 h 2033462"/>
              <a:gd name="connsiteX35" fmla="*/ 1072626 w 2032406"/>
              <a:gd name="connsiteY35" fmla="*/ 2033462 h 2033462"/>
              <a:gd name="connsiteX36" fmla="*/ 879838 w 2032406"/>
              <a:gd name="connsiteY36" fmla="*/ 2033462 h 2033462"/>
              <a:gd name="connsiteX37" fmla="*/ 724964 w 2032406"/>
              <a:gd name="connsiteY37" fmla="*/ 2033462 h 2033462"/>
              <a:gd name="connsiteX38" fmla="*/ 589423 w 2032406"/>
              <a:gd name="connsiteY38" fmla="*/ 2033462 h 2033462"/>
              <a:gd name="connsiteX39" fmla="*/ 471925 w 2032406"/>
              <a:gd name="connsiteY39" fmla="*/ 2033462 h 2033462"/>
              <a:gd name="connsiteX40" fmla="*/ 371182 w 2032406"/>
              <a:gd name="connsiteY40" fmla="*/ 2033462 h 2033462"/>
              <a:gd name="connsiteX41" fmla="*/ 285904 w 2032406"/>
              <a:gd name="connsiteY41" fmla="*/ 2033462 h 2033462"/>
              <a:gd name="connsiteX42" fmla="*/ 214804 w 2032406"/>
              <a:gd name="connsiteY42" fmla="*/ 2033462 h 2033462"/>
              <a:gd name="connsiteX43" fmla="*/ 156592 w 2032406"/>
              <a:gd name="connsiteY43" fmla="*/ 2033462 h 2033462"/>
              <a:gd name="connsiteX44" fmla="*/ 109980 w 2032406"/>
              <a:gd name="connsiteY44" fmla="*/ 2033462 h 2033462"/>
              <a:gd name="connsiteX45" fmla="*/ 73678 w 2032406"/>
              <a:gd name="connsiteY45" fmla="*/ 2033462 h 2033462"/>
              <a:gd name="connsiteX46" fmla="*/ 46398 w 2032406"/>
              <a:gd name="connsiteY46" fmla="*/ 2033462 h 2033462"/>
              <a:gd name="connsiteX47" fmla="*/ 26851 w 2032406"/>
              <a:gd name="connsiteY47" fmla="*/ 2033462 h 2033462"/>
              <a:gd name="connsiteX48" fmla="*/ 13748 w 2032406"/>
              <a:gd name="connsiteY48" fmla="*/ 2033462 h 2033462"/>
              <a:gd name="connsiteX49" fmla="*/ 1719 w 2032406"/>
              <a:gd name="connsiteY49" fmla="*/ 2033462 h 2033462"/>
              <a:gd name="connsiteX50" fmla="*/ 0 w 2032406"/>
              <a:gd name="connsiteY50" fmla="*/ 2033462 h 2033462"/>
              <a:gd name="connsiteX51" fmla="*/ 2032405 w 2032406"/>
              <a:gd name="connsiteY51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032406" h="2033462">
                <a:moveTo>
                  <a:pt x="2032405" y="0"/>
                </a:moveTo>
                <a:cubicBezTo>
                  <a:pt x="2032405" y="492760"/>
                  <a:pt x="2032405" y="800735"/>
                  <a:pt x="2032405" y="993220"/>
                </a:cubicBezTo>
                <a:lnTo>
                  <a:pt x="2032405" y="1073682"/>
                </a:lnTo>
                <a:lnTo>
                  <a:pt x="2032406" y="1073682"/>
                </a:lnTo>
                <a:lnTo>
                  <a:pt x="2032406" y="1242628"/>
                </a:lnTo>
                <a:lnTo>
                  <a:pt x="2032406" y="1390485"/>
                </a:lnTo>
                <a:lnTo>
                  <a:pt x="2032406" y="1518658"/>
                </a:lnTo>
                <a:lnTo>
                  <a:pt x="2032406" y="1628555"/>
                </a:lnTo>
                <a:lnTo>
                  <a:pt x="2032406" y="1721580"/>
                </a:lnTo>
                <a:lnTo>
                  <a:pt x="2032406" y="1799141"/>
                </a:lnTo>
                <a:lnTo>
                  <a:pt x="2032406" y="1862642"/>
                </a:lnTo>
                <a:lnTo>
                  <a:pt x="2032406" y="1913490"/>
                </a:lnTo>
                <a:lnTo>
                  <a:pt x="2032406" y="1953090"/>
                </a:lnTo>
                <a:lnTo>
                  <a:pt x="2032406" y="1982849"/>
                </a:lnTo>
                <a:lnTo>
                  <a:pt x="2032406" y="2004172"/>
                </a:lnTo>
                <a:lnTo>
                  <a:pt x="2032406" y="2018466"/>
                </a:lnTo>
                <a:lnTo>
                  <a:pt x="2032406" y="2031588"/>
                </a:lnTo>
                <a:lnTo>
                  <a:pt x="2032406" y="2033462"/>
                </a:lnTo>
                <a:lnTo>
                  <a:pt x="1924268" y="2033462"/>
                </a:lnTo>
                <a:lnTo>
                  <a:pt x="1824574" y="2033462"/>
                </a:lnTo>
                <a:lnTo>
                  <a:pt x="1732981" y="2033462"/>
                </a:lnTo>
                <a:lnTo>
                  <a:pt x="1649145" y="2033462"/>
                </a:lnTo>
                <a:lnTo>
                  <a:pt x="1503371" y="2033462"/>
                </a:lnTo>
                <a:lnTo>
                  <a:pt x="1384508" y="2033462"/>
                </a:lnTo>
                <a:lnTo>
                  <a:pt x="1313344" y="2033462"/>
                </a:lnTo>
                <a:lnTo>
                  <a:pt x="1306948" y="2033462"/>
                </a:lnTo>
                <a:lnTo>
                  <a:pt x="1243446" y="2033462"/>
                </a:lnTo>
                <a:lnTo>
                  <a:pt x="1194026" y="2033462"/>
                </a:lnTo>
                <a:lnTo>
                  <a:pt x="1192599" y="2033462"/>
                </a:lnTo>
                <a:lnTo>
                  <a:pt x="1152999" y="2033462"/>
                </a:lnTo>
                <a:lnTo>
                  <a:pt x="1123240" y="2033462"/>
                </a:lnTo>
                <a:lnTo>
                  <a:pt x="1101917" y="2033462"/>
                </a:lnTo>
                <a:lnTo>
                  <a:pt x="1087623" y="2033462"/>
                </a:lnTo>
                <a:lnTo>
                  <a:pt x="1082162" y="2033462"/>
                </a:lnTo>
                <a:lnTo>
                  <a:pt x="1074501" y="2033462"/>
                </a:lnTo>
                <a:lnTo>
                  <a:pt x="1072626" y="2033462"/>
                </a:lnTo>
                <a:lnTo>
                  <a:pt x="879838" y="2033462"/>
                </a:lnTo>
                <a:lnTo>
                  <a:pt x="724964" y="2033462"/>
                </a:lnTo>
                <a:lnTo>
                  <a:pt x="589423" y="2033462"/>
                </a:lnTo>
                <a:lnTo>
                  <a:pt x="471925" y="2033462"/>
                </a:lnTo>
                <a:lnTo>
                  <a:pt x="371182" y="2033462"/>
                </a:lnTo>
                <a:lnTo>
                  <a:pt x="285904" y="2033462"/>
                </a:lnTo>
                <a:lnTo>
                  <a:pt x="214804" y="2033462"/>
                </a:lnTo>
                <a:lnTo>
                  <a:pt x="156592" y="2033462"/>
                </a:lnTo>
                <a:lnTo>
                  <a:pt x="109980" y="2033462"/>
                </a:lnTo>
                <a:lnTo>
                  <a:pt x="73678" y="2033462"/>
                </a:lnTo>
                <a:lnTo>
                  <a:pt x="46398" y="2033462"/>
                </a:lnTo>
                <a:lnTo>
                  <a:pt x="26851" y="2033462"/>
                </a:lnTo>
                <a:lnTo>
                  <a:pt x="13748" y="2033462"/>
                </a:lnTo>
                <a:lnTo>
                  <a:pt x="1719" y="2033462"/>
                </a:lnTo>
                <a:lnTo>
                  <a:pt x="0" y="2033462"/>
                </a:lnTo>
                <a:cubicBezTo>
                  <a:pt x="44412" y="931033"/>
                  <a:pt x="930549" y="44436"/>
                  <a:pt x="2032405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lIns="576000" bIns="432000" anchor="b" anchorCtr="0">
            <a:noAutofit/>
          </a:bodyPr>
          <a:lstStyle>
            <a:lvl1pPr algn="r">
              <a:buNone/>
              <a:defRPr sz="1800">
                <a:latin typeface="+mn-lt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8B3E0B95-2CB7-11A5-C253-4741EA9E83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2312" y="1556968"/>
            <a:ext cx="2468880" cy="2468880"/>
          </a:xfrm>
          <a:custGeom>
            <a:avLst/>
            <a:gdLst>
              <a:gd name="connsiteX0" fmla="*/ 1 w 2032406"/>
              <a:gd name="connsiteY0" fmla="*/ 0 h 2033462"/>
              <a:gd name="connsiteX1" fmla="*/ 2032406 w 2032406"/>
              <a:gd name="connsiteY1" fmla="*/ 2033462 h 2033462"/>
              <a:gd name="connsiteX2" fmla="*/ 1913088 w 2032406"/>
              <a:gd name="connsiteY2" fmla="*/ 2033462 h 2033462"/>
              <a:gd name="connsiteX3" fmla="*/ 1801224 w 2032406"/>
              <a:gd name="connsiteY3" fmla="*/ 2033462 h 2033462"/>
              <a:gd name="connsiteX4" fmla="*/ 1598900 w 2032406"/>
              <a:gd name="connsiteY4" fmla="*/ 2033462 h 2033462"/>
              <a:gd name="connsiteX5" fmla="*/ 1423510 w 2032406"/>
              <a:gd name="connsiteY5" fmla="*/ 2033462 h 2033462"/>
              <a:gd name="connsiteX6" fmla="*/ 1273129 w 2032406"/>
              <a:gd name="connsiteY6" fmla="*/ 2033462 h 2033462"/>
              <a:gd name="connsiteX7" fmla="*/ 1154851 w 2032406"/>
              <a:gd name="connsiteY7" fmla="*/ 2033462 h 2033462"/>
              <a:gd name="connsiteX8" fmla="*/ 1145835 w 2032406"/>
              <a:gd name="connsiteY8" fmla="*/ 2033462 h 2033462"/>
              <a:gd name="connsiteX9" fmla="*/ 1039703 w 2032406"/>
              <a:gd name="connsiteY9" fmla="*/ 2033462 h 2033462"/>
              <a:gd name="connsiteX10" fmla="*/ 952809 w 2032406"/>
              <a:gd name="connsiteY10" fmla="*/ 2033462 h 2033462"/>
              <a:gd name="connsiteX11" fmla="*/ 951568 w 2032406"/>
              <a:gd name="connsiteY11" fmla="*/ 2033462 h 2033462"/>
              <a:gd name="connsiteX12" fmla="*/ 883230 w 2032406"/>
              <a:gd name="connsiteY12" fmla="*/ 2033462 h 2033462"/>
              <a:gd name="connsiteX13" fmla="*/ 829042 w 2032406"/>
              <a:gd name="connsiteY13" fmla="*/ 2033462 h 2033462"/>
              <a:gd name="connsiteX14" fmla="*/ 788321 w 2032406"/>
              <a:gd name="connsiteY14" fmla="*/ 2033462 h 2033462"/>
              <a:gd name="connsiteX15" fmla="*/ 773660 w 2032406"/>
              <a:gd name="connsiteY15" fmla="*/ 2033462 h 2033462"/>
              <a:gd name="connsiteX16" fmla="*/ 759142 w 2032406"/>
              <a:gd name="connsiteY16" fmla="*/ 2033462 h 2033462"/>
              <a:gd name="connsiteX17" fmla="*/ 739583 w 2032406"/>
              <a:gd name="connsiteY17" fmla="*/ 2033462 h 2033462"/>
              <a:gd name="connsiteX18" fmla="*/ 727720 w 2032406"/>
              <a:gd name="connsiteY18" fmla="*/ 2033462 h 2033462"/>
              <a:gd name="connsiteX19" fmla="*/ 721627 w 2032406"/>
              <a:gd name="connsiteY19" fmla="*/ 2033462 h 2033462"/>
              <a:gd name="connsiteX20" fmla="*/ 719062 w 2032406"/>
              <a:gd name="connsiteY20" fmla="*/ 2033462 h 2033462"/>
              <a:gd name="connsiteX21" fmla="*/ 619436 w 2032406"/>
              <a:gd name="connsiteY21" fmla="*/ 2033462 h 2033462"/>
              <a:gd name="connsiteX22" fmla="*/ 510400 w 2032406"/>
              <a:gd name="connsiteY22" fmla="*/ 2033462 h 2033462"/>
              <a:gd name="connsiteX23" fmla="*/ 414974 w 2032406"/>
              <a:gd name="connsiteY23" fmla="*/ 2033462 h 2033462"/>
              <a:gd name="connsiteX24" fmla="*/ 332251 w 2032406"/>
              <a:gd name="connsiteY24" fmla="*/ 2033462 h 2033462"/>
              <a:gd name="connsiteX25" fmla="*/ 261325 w 2032406"/>
              <a:gd name="connsiteY25" fmla="*/ 2033462 h 2033462"/>
              <a:gd name="connsiteX26" fmla="*/ 201287 w 2032406"/>
              <a:gd name="connsiteY26" fmla="*/ 2033462 h 2033462"/>
              <a:gd name="connsiteX27" fmla="*/ 151230 w 2032406"/>
              <a:gd name="connsiteY27" fmla="*/ 2033462 h 2033462"/>
              <a:gd name="connsiteX28" fmla="*/ 110246 w 2032406"/>
              <a:gd name="connsiteY28" fmla="*/ 2033462 h 2033462"/>
              <a:gd name="connsiteX29" fmla="*/ 77430 w 2032406"/>
              <a:gd name="connsiteY29" fmla="*/ 2033462 h 2033462"/>
              <a:gd name="connsiteX30" fmla="*/ 32666 w 2032406"/>
              <a:gd name="connsiteY30" fmla="*/ 2033462 h 2033462"/>
              <a:gd name="connsiteX31" fmla="*/ 9679 w 2032406"/>
              <a:gd name="connsiteY31" fmla="*/ 2033462 h 2033462"/>
              <a:gd name="connsiteX32" fmla="*/ 1210 w 2032406"/>
              <a:gd name="connsiteY32" fmla="*/ 2033462 h 2033462"/>
              <a:gd name="connsiteX33" fmla="*/ 0 w 2032406"/>
              <a:gd name="connsiteY33" fmla="*/ 2033462 h 2033462"/>
              <a:gd name="connsiteX34" fmla="*/ 0 w 2032406"/>
              <a:gd name="connsiteY34" fmla="*/ 1830179 h 2033462"/>
              <a:gd name="connsiteX35" fmla="*/ 0 w 2032406"/>
              <a:gd name="connsiteY35" fmla="*/ 1652271 h 2033462"/>
              <a:gd name="connsiteX36" fmla="*/ 0 w 2032406"/>
              <a:gd name="connsiteY36" fmla="*/ 1498047 h 2033462"/>
              <a:gd name="connsiteX37" fmla="*/ 0 w 2032406"/>
              <a:gd name="connsiteY37" fmla="*/ 1365814 h 2033462"/>
              <a:gd name="connsiteX38" fmla="*/ 0 w 2032406"/>
              <a:gd name="connsiteY38" fmla="*/ 1253881 h 2033462"/>
              <a:gd name="connsiteX39" fmla="*/ 0 w 2032406"/>
              <a:gd name="connsiteY39" fmla="*/ 1160557 h 2033462"/>
              <a:gd name="connsiteX40" fmla="*/ 0 w 2032406"/>
              <a:gd name="connsiteY40" fmla="*/ 1084150 h 2033462"/>
              <a:gd name="connsiteX41" fmla="*/ 0 w 2032406"/>
              <a:gd name="connsiteY41" fmla="*/ 1022968 h 2033462"/>
              <a:gd name="connsiteX42" fmla="*/ 0 w 2032406"/>
              <a:gd name="connsiteY42" fmla="*/ 975319 h 2033462"/>
              <a:gd name="connsiteX43" fmla="*/ 0 w 2032406"/>
              <a:gd name="connsiteY43" fmla="*/ 939512 h 2033462"/>
              <a:gd name="connsiteX44" fmla="*/ 0 w 2032406"/>
              <a:gd name="connsiteY44" fmla="*/ 913855 h 2033462"/>
              <a:gd name="connsiteX45" fmla="*/ 0 w 2032406"/>
              <a:gd name="connsiteY45" fmla="*/ 896656 h 2033462"/>
              <a:gd name="connsiteX46" fmla="*/ 0 w 2032406"/>
              <a:gd name="connsiteY46" fmla="*/ 880867 h 2033462"/>
              <a:gd name="connsiteX47" fmla="*/ 0 w 2032406"/>
              <a:gd name="connsiteY47" fmla="*/ 878611 h 2033462"/>
              <a:gd name="connsiteX48" fmla="*/ 1 w 2032406"/>
              <a:gd name="connsiteY48" fmla="*/ 878611 h 2033462"/>
              <a:gd name="connsiteX49" fmla="*/ 1 w 2032406"/>
              <a:gd name="connsiteY49" fmla="*/ 704814 h 2033462"/>
              <a:gd name="connsiteX50" fmla="*/ 1 w 2032406"/>
              <a:gd name="connsiteY50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032406" h="2033462">
                <a:moveTo>
                  <a:pt x="1" y="0"/>
                </a:moveTo>
                <a:cubicBezTo>
                  <a:pt x="1101857" y="44436"/>
                  <a:pt x="1987994" y="931034"/>
                  <a:pt x="2032406" y="2033462"/>
                </a:cubicBezTo>
                <a:lnTo>
                  <a:pt x="1913088" y="2033462"/>
                </a:lnTo>
                <a:lnTo>
                  <a:pt x="1801224" y="2033462"/>
                </a:lnTo>
                <a:lnTo>
                  <a:pt x="1598900" y="2033462"/>
                </a:lnTo>
                <a:lnTo>
                  <a:pt x="1423510" y="2033462"/>
                </a:lnTo>
                <a:lnTo>
                  <a:pt x="1273129" y="2033462"/>
                </a:lnTo>
                <a:lnTo>
                  <a:pt x="1154851" y="2033462"/>
                </a:lnTo>
                <a:lnTo>
                  <a:pt x="1145835" y="2033462"/>
                </a:lnTo>
                <a:lnTo>
                  <a:pt x="1039703" y="2033462"/>
                </a:lnTo>
                <a:lnTo>
                  <a:pt x="952809" y="2033462"/>
                </a:lnTo>
                <a:lnTo>
                  <a:pt x="951568" y="2033462"/>
                </a:lnTo>
                <a:lnTo>
                  <a:pt x="883230" y="2033462"/>
                </a:lnTo>
                <a:lnTo>
                  <a:pt x="829042" y="2033462"/>
                </a:lnTo>
                <a:lnTo>
                  <a:pt x="788321" y="2033462"/>
                </a:lnTo>
                <a:lnTo>
                  <a:pt x="773660" y="2033462"/>
                </a:lnTo>
                <a:lnTo>
                  <a:pt x="759142" y="2033462"/>
                </a:lnTo>
                <a:lnTo>
                  <a:pt x="739583" y="2033462"/>
                </a:lnTo>
                <a:lnTo>
                  <a:pt x="727720" y="2033462"/>
                </a:lnTo>
                <a:lnTo>
                  <a:pt x="721627" y="2033462"/>
                </a:lnTo>
                <a:lnTo>
                  <a:pt x="719062" y="2033462"/>
                </a:lnTo>
                <a:lnTo>
                  <a:pt x="619436" y="2033462"/>
                </a:lnTo>
                <a:lnTo>
                  <a:pt x="510400" y="2033462"/>
                </a:lnTo>
                <a:lnTo>
                  <a:pt x="414974" y="2033462"/>
                </a:lnTo>
                <a:lnTo>
                  <a:pt x="332251" y="2033462"/>
                </a:lnTo>
                <a:lnTo>
                  <a:pt x="261325" y="2033462"/>
                </a:lnTo>
                <a:lnTo>
                  <a:pt x="201287" y="2033462"/>
                </a:lnTo>
                <a:lnTo>
                  <a:pt x="151230" y="2033462"/>
                </a:lnTo>
                <a:lnTo>
                  <a:pt x="110246" y="2033462"/>
                </a:lnTo>
                <a:lnTo>
                  <a:pt x="77430" y="2033462"/>
                </a:lnTo>
                <a:lnTo>
                  <a:pt x="32666" y="2033462"/>
                </a:lnTo>
                <a:lnTo>
                  <a:pt x="9679" y="2033462"/>
                </a:lnTo>
                <a:lnTo>
                  <a:pt x="1210" y="2033462"/>
                </a:lnTo>
                <a:lnTo>
                  <a:pt x="0" y="2033462"/>
                </a:lnTo>
                <a:lnTo>
                  <a:pt x="0" y="1830179"/>
                </a:lnTo>
                <a:lnTo>
                  <a:pt x="0" y="1652271"/>
                </a:lnTo>
                <a:lnTo>
                  <a:pt x="0" y="1498047"/>
                </a:lnTo>
                <a:lnTo>
                  <a:pt x="0" y="1365814"/>
                </a:lnTo>
                <a:lnTo>
                  <a:pt x="0" y="1253881"/>
                </a:lnTo>
                <a:lnTo>
                  <a:pt x="0" y="1160557"/>
                </a:lnTo>
                <a:lnTo>
                  <a:pt x="0" y="1084150"/>
                </a:lnTo>
                <a:lnTo>
                  <a:pt x="0" y="1022968"/>
                </a:lnTo>
                <a:lnTo>
                  <a:pt x="0" y="975319"/>
                </a:lnTo>
                <a:lnTo>
                  <a:pt x="0" y="939512"/>
                </a:lnTo>
                <a:lnTo>
                  <a:pt x="0" y="913855"/>
                </a:lnTo>
                <a:lnTo>
                  <a:pt x="0" y="896656"/>
                </a:lnTo>
                <a:lnTo>
                  <a:pt x="0" y="880867"/>
                </a:lnTo>
                <a:lnTo>
                  <a:pt x="0" y="878611"/>
                </a:lnTo>
                <a:lnTo>
                  <a:pt x="1" y="878611"/>
                </a:lnTo>
                <a:lnTo>
                  <a:pt x="1" y="704814"/>
                </a:ln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rIns="576000" bIns="432000" anchor="b" anchorCtr="0">
            <a:noAutofit/>
          </a:bodyPr>
          <a:lstStyle>
            <a:lvl1pPr marL="22860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8" name="Picture Placeholder 30">
            <a:extLst>
              <a:ext uri="{FF2B5EF4-FFF2-40B4-BE49-F238E27FC236}">
                <a16:creationId xmlns:a16="http://schemas.microsoft.com/office/drawing/2014/main" id="{E4942A16-9626-2798-5C33-BF9F0B1904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12769" y="4229647"/>
            <a:ext cx="2468880" cy="2468880"/>
          </a:xfrm>
          <a:custGeom>
            <a:avLst/>
            <a:gdLst>
              <a:gd name="connsiteX0" fmla="*/ 0 w 2032406"/>
              <a:gd name="connsiteY0" fmla="*/ 0 h 2033462"/>
              <a:gd name="connsiteX1" fmla="*/ 176167 w 2032406"/>
              <a:gd name="connsiteY1" fmla="*/ 0 h 2033462"/>
              <a:gd name="connsiteX2" fmla="*/ 335831 w 2032406"/>
              <a:gd name="connsiteY2" fmla="*/ 0 h 2033462"/>
              <a:gd name="connsiteX3" fmla="*/ 479804 w 2032406"/>
              <a:gd name="connsiteY3" fmla="*/ 0 h 2033462"/>
              <a:gd name="connsiteX4" fmla="*/ 608897 w 2032406"/>
              <a:gd name="connsiteY4" fmla="*/ 0 h 2033462"/>
              <a:gd name="connsiteX5" fmla="*/ 723922 w 2032406"/>
              <a:gd name="connsiteY5" fmla="*/ 0 h 2033462"/>
              <a:gd name="connsiteX6" fmla="*/ 825690 w 2032406"/>
              <a:gd name="connsiteY6" fmla="*/ 0 h 2033462"/>
              <a:gd name="connsiteX7" fmla="*/ 915013 w 2032406"/>
              <a:gd name="connsiteY7" fmla="*/ 0 h 2033462"/>
              <a:gd name="connsiteX8" fmla="*/ 992703 w 2032406"/>
              <a:gd name="connsiteY8" fmla="*/ 0 h 2033462"/>
              <a:gd name="connsiteX9" fmla="*/ 1078722 w 2032406"/>
              <a:gd name="connsiteY9" fmla="*/ 0 h 2033462"/>
              <a:gd name="connsiteX10" fmla="*/ 1079597 w 2032406"/>
              <a:gd name="connsiteY10" fmla="*/ 0 h 2033462"/>
              <a:gd name="connsiteX11" fmla="*/ 1149176 w 2032406"/>
              <a:gd name="connsiteY11" fmla="*/ 0 h 2033462"/>
              <a:gd name="connsiteX12" fmla="*/ 1203365 w 2032406"/>
              <a:gd name="connsiteY12" fmla="*/ 0 h 2033462"/>
              <a:gd name="connsiteX13" fmla="*/ 1244086 w 2032406"/>
              <a:gd name="connsiteY13" fmla="*/ 0 h 2033462"/>
              <a:gd name="connsiteX14" fmla="*/ 1273264 w 2032406"/>
              <a:gd name="connsiteY14" fmla="*/ 0 h 2033462"/>
              <a:gd name="connsiteX15" fmla="*/ 1292823 w 2032406"/>
              <a:gd name="connsiteY15" fmla="*/ 0 h 2033462"/>
              <a:gd name="connsiteX16" fmla="*/ 1304687 w 2032406"/>
              <a:gd name="connsiteY16" fmla="*/ 0 h 2033462"/>
              <a:gd name="connsiteX17" fmla="*/ 1310779 w 2032406"/>
              <a:gd name="connsiteY17" fmla="*/ 0 h 2033462"/>
              <a:gd name="connsiteX18" fmla="*/ 1313344 w 2032406"/>
              <a:gd name="connsiteY18" fmla="*/ 0 h 2033462"/>
              <a:gd name="connsiteX19" fmla="*/ 2032406 w 2032406"/>
              <a:gd name="connsiteY19" fmla="*/ 0 h 2033462"/>
              <a:gd name="connsiteX20" fmla="*/ 2032406 w 2032406"/>
              <a:gd name="connsiteY20" fmla="*/ 167873 h 2033462"/>
              <a:gd name="connsiteX21" fmla="*/ 2032406 w 2032406"/>
              <a:gd name="connsiteY21" fmla="*/ 314791 h 2033462"/>
              <a:gd name="connsiteX22" fmla="*/ 2032406 w 2032406"/>
              <a:gd name="connsiteY22" fmla="*/ 442150 h 2033462"/>
              <a:gd name="connsiteX23" fmla="*/ 2032406 w 2032406"/>
              <a:gd name="connsiteY23" fmla="*/ 551349 h 2033462"/>
              <a:gd name="connsiteX24" fmla="*/ 2032406 w 2032406"/>
              <a:gd name="connsiteY24" fmla="*/ 643784 h 2033462"/>
              <a:gd name="connsiteX25" fmla="*/ 2032406 w 2032406"/>
              <a:gd name="connsiteY25" fmla="*/ 720851 h 2033462"/>
              <a:gd name="connsiteX26" fmla="*/ 2032406 w 2032406"/>
              <a:gd name="connsiteY26" fmla="*/ 783949 h 2033462"/>
              <a:gd name="connsiteX27" fmla="*/ 2032406 w 2032406"/>
              <a:gd name="connsiteY27" fmla="*/ 834474 h 2033462"/>
              <a:gd name="connsiteX28" fmla="*/ 2032406 w 2032406"/>
              <a:gd name="connsiteY28" fmla="*/ 873823 h 2033462"/>
              <a:gd name="connsiteX29" fmla="*/ 2032406 w 2032406"/>
              <a:gd name="connsiteY29" fmla="*/ 903392 h 2033462"/>
              <a:gd name="connsiteX30" fmla="*/ 2032406 w 2032406"/>
              <a:gd name="connsiteY30" fmla="*/ 924580 h 2033462"/>
              <a:gd name="connsiteX31" fmla="*/ 2032406 w 2032406"/>
              <a:gd name="connsiteY31" fmla="*/ 938783 h 2033462"/>
              <a:gd name="connsiteX32" fmla="*/ 2032406 w 2032406"/>
              <a:gd name="connsiteY32" fmla="*/ 951822 h 2033462"/>
              <a:gd name="connsiteX33" fmla="*/ 2032406 w 2032406"/>
              <a:gd name="connsiteY33" fmla="*/ 953684 h 2033462"/>
              <a:gd name="connsiteX34" fmla="*/ 2032405 w 2032406"/>
              <a:gd name="connsiteY34" fmla="*/ 953684 h 2033462"/>
              <a:gd name="connsiteX35" fmla="*/ 2032405 w 2032406"/>
              <a:gd name="connsiteY35" fmla="*/ 1153167 h 2033462"/>
              <a:gd name="connsiteX36" fmla="*/ 2032405 w 2032406"/>
              <a:gd name="connsiteY36" fmla="*/ 2033462 h 2033462"/>
              <a:gd name="connsiteX37" fmla="*/ 0 w 2032406"/>
              <a:gd name="connsiteY37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032406" h="2033462">
                <a:moveTo>
                  <a:pt x="0" y="0"/>
                </a:moveTo>
                <a:lnTo>
                  <a:pt x="176167" y="0"/>
                </a:lnTo>
                <a:lnTo>
                  <a:pt x="335831" y="0"/>
                </a:lnTo>
                <a:lnTo>
                  <a:pt x="479804" y="0"/>
                </a:lnTo>
                <a:lnTo>
                  <a:pt x="608897" y="0"/>
                </a:lnTo>
                <a:lnTo>
                  <a:pt x="723922" y="0"/>
                </a:lnTo>
                <a:lnTo>
                  <a:pt x="825690" y="0"/>
                </a:lnTo>
                <a:lnTo>
                  <a:pt x="915013" y="0"/>
                </a:lnTo>
                <a:lnTo>
                  <a:pt x="992703" y="0"/>
                </a:lnTo>
                <a:lnTo>
                  <a:pt x="1078722" y="0"/>
                </a:lnTo>
                <a:lnTo>
                  <a:pt x="1079597" y="0"/>
                </a:lnTo>
                <a:lnTo>
                  <a:pt x="1149176" y="0"/>
                </a:lnTo>
                <a:lnTo>
                  <a:pt x="1203365" y="0"/>
                </a:lnTo>
                <a:lnTo>
                  <a:pt x="1244086" y="0"/>
                </a:lnTo>
                <a:lnTo>
                  <a:pt x="1273264" y="0"/>
                </a:lnTo>
                <a:lnTo>
                  <a:pt x="1292823" y="0"/>
                </a:lnTo>
                <a:lnTo>
                  <a:pt x="1304687" y="0"/>
                </a:lnTo>
                <a:lnTo>
                  <a:pt x="1310779" y="0"/>
                </a:lnTo>
                <a:lnTo>
                  <a:pt x="1313344" y="0"/>
                </a:lnTo>
                <a:lnTo>
                  <a:pt x="2032406" y="0"/>
                </a:lnTo>
                <a:lnTo>
                  <a:pt x="2032406" y="167873"/>
                </a:lnTo>
                <a:lnTo>
                  <a:pt x="2032406" y="314791"/>
                </a:lnTo>
                <a:lnTo>
                  <a:pt x="2032406" y="442150"/>
                </a:lnTo>
                <a:lnTo>
                  <a:pt x="2032406" y="551349"/>
                </a:lnTo>
                <a:lnTo>
                  <a:pt x="2032406" y="643784"/>
                </a:lnTo>
                <a:lnTo>
                  <a:pt x="2032406" y="720851"/>
                </a:lnTo>
                <a:lnTo>
                  <a:pt x="2032406" y="783949"/>
                </a:lnTo>
                <a:lnTo>
                  <a:pt x="2032406" y="834474"/>
                </a:lnTo>
                <a:lnTo>
                  <a:pt x="2032406" y="873823"/>
                </a:lnTo>
                <a:lnTo>
                  <a:pt x="2032406" y="903392"/>
                </a:lnTo>
                <a:lnTo>
                  <a:pt x="2032406" y="924580"/>
                </a:lnTo>
                <a:lnTo>
                  <a:pt x="2032406" y="938783"/>
                </a:lnTo>
                <a:lnTo>
                  <a:pt x="2032406" y="951822"/>
                </a:lnTo>
                <a:lnTo>
                  <a:pt x="2032406" y="953684"/>
                </a:lnTo>
                <a:lnTo>
                  <a:pt x="2032405" y="953684"/>
                </a:lnTo>
                <a:lnTo>
                  <a:pt x="2032405" y="1153167"/>
                </a:lnTo>
                <a:cubicBezTo>
                  <a:pt x="2032405" y="2033462"/>
                  <a:pt x="2032405" y="2033462"/>
                  <a:pt x="2032405" y="2033462"/>
                </a:cubicBezTo>
                <a:cubicBezTo>
                  <a:pt x="930549" y="1989026"/>
                  <a:pt x="44412" y="1102429"/>
                  <a:pt x="0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lIns="612000" tIns="432000" anchor="t" anchorCtr="0">
            <a:noAutofit/>
          </a:bodyPr>
          <a:lstStyle>
            <a:lvl1pPr marL="228600" indent="-300600" algn="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your image here</a:t>
            </a:r>
          </a:p>
        </p:txBody>
      </p:sp>
      <p:sp>
        <p:nvSpPr>
          <p:cNvPr id="9" name="Picture Placeholder 32">
            <a:extLst>
              <a:ext uri="{FF2B5EF4-FFF2-40B4-BE49-F238E27FC236}">
                <a16:creationId xmlns:a16="http://schemas.microsoft.com/office/drawing/2014/main" id="{1524ED29-F8D8-7148-69FE-E8DFCA3D8A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02312" y="4229647"/>
            <a:ext cx="2468880" cy="2468880"/>
          </a:xfrm>
          <a:custGeom>
            <a:avLst/>
            <a:gdLst>
              <a:gd name="connsiteX0" fmla="*/ 0 w 2032405"/>
              <a:gd name="connsiteY0" fmla="*/ 0 h 2033462"/>
              <a:gd name="connsiteX1" fmla="*/ 719061 w 2032405"/>
              <a:gd name="connsiteY1" fmla="*/ 0 h 2033462"/>
              <a:gd name="connsiteX2" fmla="*/ 999402 w 2032405"/>
              <a:gd name="connsiteY2" fmla="*/ 0 h 2033462"/>
              <a:gd name="connsiteX3" fmla="*/ 2032405 w 2032405"/>
              <a:gd name="connsiteY3" fmla="*/ 0 h 2033462"/>
              <a:gd name="connsiteX4" fmla="*/ 0 w 2032405"/>
              <a:gd name="connsiteY4" fmla="*/ 2033462 h 2033462"/>
              <a:gd name="connsiteX5" fmla="*/ 0 w 2032405"/>
              <a:gd name="connsiteY5" fmla="*/ 1040243 h 2033462"/>
              <a:gd name="connsiteX6" fmla="*/ 0 w 2032405"/>
              <a:gd name="connsiteY6" fmla="*/ 999402 h 2033462"/>
              <a:gd name="connsiteX7" fmla="*/ 0 w 2032405"/>
              <a:gd name="connsiteY7" fmla="*/ 953304 h 2033462"/>
              <a:gd name="connsiteX8" fmla="*/ 0 w 2032405"/>
              <a:gd name="connsiteY8" fmla="*/ 883689 h 2033462"/>
              <a:gd name="connsiteX9" fmla="*/ 0 w 2032405"/>
              <a:gd name="connsiteY9" fmla="*/ 829472 h 2033462"/>
              <a:gd name="connsiteX10" fmla="*/ 0 w 2032405"/>
              <a:gd name="connsiteY10" fmla="*/ 823482 h 2033462"/>
              <a:gd name="connsiteX11" fmla="*/ 0 w 2032405"/>
              <a:gd name="connsiteY11" fmla="*/ 788730 h 2033462"/>
              <a:gd name="connsiteX12" fmla="*/ 0 w 2032405"/>
              <a:gd name="connsiteY12" fmla="*/ 759536 h 2033462"/>
              <a:gd name="connsiteX13" fmla="*/ 0 w 2032405"/>
              <a:gd name="connsiteY13" fmla="*/ 739967 h 2033462"/>
              <a:gd name="connsiteX14" fmla="*/ 0 w 2032405"/>
              <a:gd name="connsiteY14" fmla="*/ 728097 h 2033462"/>
              <a:gd name="connsiteX15" fmla="*/ 0 w 2032405"/>
              <a:gd name="connsiteY15" fmla="*/ 722002 h 2033462"/>
              <a:gd name="connsiteX16" fmla="*/ 0 w 2032405"/>
              <a:gd name="connsiteY16" fmla="*/ 719435 h 2033462"/>
              <a:gd name="connsiteX17" fmla="*/ 0 w 2032405"/>
              <a:gd name="connsiteY17" fmla="*/ 669521 h 2033462"/>
              <a:gd name="connsiteX18" fmla="*/ 0 w 2032405"/>
              <a:gd name="connsiteY18" fmla="*/ 0 h 20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032405" h="2033462">
                <a:moveTo>
                  <a:pt x="0" y="0"/>
                </a:moveTo>
                <a:lnTo>
                  <a:pt x="719061" y="0"/>
                </a:lnTo>
                <a:lnTo>
                  <a:pt x="999402" y="0"/>
                </a:lnTo>
                <a:lnTo>
                  <a:pt x="2032405" y="0"/>
                </a:lnTo>
                <a:cubicBezTo>
                  <a:pt x="1987993" y="1102429"/>
                  <a:pt x="1101856" y="1989026"/>
                  <a:pt x="0" y="2033462"/>
                </a:cubicBezTo>
                <a:cubicBezTo>
                  <a:pt x="0" y="1540702"/>
                  <a:pt x="0" y="1232727"/>
                  <a:pt x="0" y="1040243"/>
                </a:cubicBezTo>
                <a:lnTo>
                  <a:pt x="0" y="999402"/>
                </a:lnTo>
                <a:lnTo>
                  <a:pt x="0" y="953304"/>
                </a:lnTo>
                <a:lnTo>
                  <a:pt x="0" y="883689"/>
                </a:lnTo>
                <a:lnTo>
                  <a:pt x="0" y="829472"/>
                </a:lnTo>
                <a:lnTo>
                  <a:pt x="0" y="823482"/>
                </a:lnTo>
                <a:lnTo>
                  <a:pt x="0" y="788730"/>
                </a:lnTo>
                <a:lnTo>
                  <a:pt x="0" y="759536"/>
                </a:lnTo>
                <a:lnTo>
                  <a:pt x="0" y="739967"/>
                </a:lnTo>
                <a:lnTo>
                  <a:pt x="0" y="728097"/>
                </a:lnTo>
                <a:lnTo>
                  <a:pt x="0" y="722002"/>
                </a:lnTo>
                <a:lnTo>
                  <a:pt x="0" y="719435"/>
                </a:lnTo>
                <a:lnTo>
                  <a:pt x="0" y="66952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2A3947"/>
          </a:solidFill>
        </p:spPr>
        <p:txBody>
          <a:bodyPr wrap="square" tIns="432000" rIns="576000" anchor="t" anchorCtr="0">
            <a:noAutofit/>
          </a:bodyPr>
          <a:lstStyle>
            <a:lvl1pPr marL="22860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4123885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Halo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C5B4E665-571D-3826-7FD0-1E85FBC336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5840" y="3838644"/>
            <a:ext cx="2560320" cy="2560320"/>
          </a:xfrm>
          <a:prstGeom prst="ellipse">
            <a:avLst/>
          </a:prstGeom>
          <a:solidFill>
            <a:srgbClr val="2A3947"/>
          </a:solidFill>
          <a:ln w="63500">
            <a:noFill/>
          </a:ln>
        </p:spPr>
        <p:txBody>
          <a:bodyPr anchor="t" anchorCtr="0"/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2313172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Halo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C5B4E665-571D-3826-7FD0-1E85FBC336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15840" y="3838644"/>
            <a:ext cx="2560320" cy="2560320"/>
          </a:xfrm>
          <a:prstGeom prst="ellipse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txBody>
          <a:bodyPr anchor="t" anchorCtr="0"/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Insert your image here</a:t>
            </a:r>
          </a:p>
        </p:txBody>
      </p:sp>
    </p:spTree>
    <p:extLst>
      <p:ext uri="{BB962C8B-B14F-4D97-AF65-F5344CB8AC3E}">
        <p14:creationId xmlns:p14="http://schemas.microsoft.com/office/powerpoint/2010/main" val="2923134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303D24C-8F91-E76F-96B7-678DB8680E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67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/Integ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integration diagram">
            <a:extLst>
              <a:ext uri="{FF2B5EF4-FFF2-40B4-BE49-F238E27FC236}">
                <a16:creationId xmlns:a16="http://schemas.microsoft.com/office/drawing/2014/main" id="{BDFA4F5D-2DD9-17C9-44B5-9D273E67AB35}"/>
              </a:ext>
            </a:extLst>
          </p:cNvPr>
          <p:cNvGrpSpPr/>
          <p:nvPr userDrawn="1"/>
        </p:nvGrpSpPr>
        <p:grpSpPr>
          <a:xfrm>
            <a:off x="757154" y="1773538"/>
            <a:ext cx="10588486" cy="3702591"/>
            <a:chOff x="757154" y="1773538"/>
            <a:chExt cx="10588486" cy="3702591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9B88C5E4-184F-1F88-0D6E-52B196300468}"/>
                </a:ext>
              </a:extLst>
            </p:cNvPr>
            <p:cNvSpPr/>
            <p:nvPr/>
          </p:nvSpPr>
          <p:spPr>
            <a:xfrm flipH="1">
              <a:off x="9005112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3"/>
                </a:gs>
                <a:gs pos="70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DE8CA9C9-1992-180F-034F-DDE579CAFBFF}"/>
                </a:ext>
              </a:extLst>
            </p:cNvPr>
            <p:cNvSpPr/>
            <p:nvPr/>
          </p:nvSpPr>
          <p:spPr>
            <a:xfrm flipH="1">
              <a:off x="6861680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1"/>
                </a:gs>
                <a:gs pos="70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EFA5D4A2-574D-699B-D773-A446F775FA92}"/>
                </a:ext>
              </a:extLst>
            </p:cNvPr>
            <p:cNvSpPr/>
            <p:nvPr/>
          </p:nvSpPr>
          <p:spPr>
            <a:xfrm flipH="1">
              <a:off x="4714415" y="1777790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2"/>
                </a:gs>
                <a:gs pos="7000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D724BE08-0AC7-07FB-96E5-9C79463DD292}"/>
                </a:ext>
              </a:extLst>
            </p:cNvPr>
            <p:cNvSpPr/>
            <p:nvPr/>
          </p:nvSpPr>
          <p:spPr>
            <a:xfrm flipH="1">
              <a:off x="2574719" y="1777790"/>
              <a:ext cx="519850" cy="2152539"/>
            </a:xfrm>
            <a:prstGeom prst="parallelogram">
              <a:avLst>
                <a:gd name="adj" fmla="val 60581"/>
              </a:avLst>
            </a:prstGeom>
            <a:gradFill>
              <a:gsLst>
                <a:gs pos="70000">
                  <a:schemeClr val="tx2"/>
                </a:gs>
                <a:gs pos="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magenta">
              <a:extLst>
                <a:ext uri="{FF2B5EF4-FFF2-40B4-BE49-F238E27FC236}">
                  <a16:creationId xmlns:a16="http://schemas.microsoft.com/office/drawing/2014/main" id="{55CCFB6F-D022-2A6E-D374-789130ECEC42}"/>
                </a:ext>
              </a:extLst>
            </p:cNvPr>
            <p:cNvGrpSpPr/>
            <p:nvPr/>
          </p:nvGrpSpPr>
          <p:grpSpPr>
            <a:xfrm>
              <a:off x="9327994" y="1773538"/>
              <a:ext cx="2017646" cy="3702591"/>
              <a:chOff x="9327994" y="1773538"/>
              <a:chExt cx="2017646" cy="370259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3345523-B73C-DCEA-EAC2-F21897104EDE}"/>
                  </a:ext>
                </a:extLst>
              </p:cNvPr>
              <p:cNvSpPr/>
              <p:nvPr/>
            </p:nvSpPr>
            <p:spPr>
              <a:xfrm>
                <a:off x="9327994" y="1781555"/>
                <a:ext cx="2010025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3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E6440D7-25D7-B24C-A271-F5265B273CAB}"/>
                  </a:ext>
                </a:extLst>
              </p:cNvPr>
              <p:cNvSpPr/>
              <p:nvPr/>
            </p:nvSpPr>
            <p:spPr>
              <a:xfrm>
                <a:off x="9327996" y="1773538"/>
                <a:ext cx="2017644" cy="2156791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2" name="dark teal">
              <a:extLst>
                <a:ext uri="{FF2B5EF4-FFF2-40B4-BE49-F238E27FC236}">
                  <a16:creationId xmlns:a16="http://schemas.microsoft.com/office/drawing/2014/main" id="{E9CB33C2-5ADC-FF53-6EAF-A3180053E50D}"/>
                </a:ext>
              </a:extLst>
            </p:cNvPr>
            <p:cNvGrpSpPr/>
            <p:nvPr/>
          </p:nvGrpSpPr>
          <p:grpSpPr>
            <a:xfrm>
              <a:off x="7185284" y="1773538"/>
              <a:ext cx="2017644" cy="3694574"/>
              <a:chOff x="7185284" y="1773538"/>
              <a:chExt cx="2017644" cy="369457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FBA7A26-2311-13DA-C957-0B7D1C8FF7EE}"/>
                  </a:ext>
                </a:extLst>
              </p:cNvPr>
              <p:cNvSpPr/>
              <p:nvPr/>
            </p:nvSpPr>
            <p:spPr>
              <a:xfrm>
                <a:off x="7189096" y="1773538"/>
                <a:ext cx="2013832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1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6084705-3AB3-4C6D-E103-1ABE6488420F}"/>
                  </a:ext>
                </a:extLst>
              </p:cNvPr>
              <p:cNvSpPr/>
              <p:nvPr/>
            </p:nvSpPr>
            <p:spPr>
              <a:xfrm>
                <a:off x="7185284" y="1773538"/>
                <a:ext cx="2017644" cy="215679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3" name="light teal">
              <a:extLst>
                <a:ext uri="{FF2B5EF4-FFF2-40B4-BE49-F238E27FC236}">
                  <a16:creationId xmlns:a16="http://schemas.microsoft.com/office/drawing/2014/main" id="{7C685E5E-EC21-D6CF-3F1B-A6C8E81E394E}"/>
                </a:ext>
              </a:extLst>
            </p:cNvPr>
            <p:cNvGrpSpPr/>
            <p:nvPr/>
          </p:nvGrpSpPr>
          <p:grpSpPr>
            <a:xfrm>
              <a:off x="5038765" y="1773538"/>
              <a:ext cx="2021453" cy="3702591"/>
              <a:chOff x="5038765" y="1773538"/>
              <a:chExt cx="2021453" cy="370259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E3E97FE-AC55-DE41-33A5-64BCA1E39B09}"/>
                  </a:ext>
                </a:extLst>
              </p:cNvPr>
              <p:cNvSpPr/>
              <p:nvPr/>
            </p:nvSpPr>
            <p:spPr>
              <a:xfrm>
                <a:off x="5038765" y="1781555"/>
                <a:ext cx="2015348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14B4E4C-BCB7-185B-92F5-F47E550EAE6B}"/>
                  </a:ext>
                </a:extLst>
              </p:cNvPr>
              <p:cNvSpPr/>
              <p:nvPr/>
            </p:nvSpPr>
            <p:spPr>
              <a:xfrm>
                <a:off x="5042574" y="1773538"/>
                <a:ext cx="2017644" cy="215679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  <p:sp>
            <p:nvSpPr>
              <p:cNvPr id="25" name="cubes icon" hidden="1">
                <a:extLst>
                  <a:ext uri="{FF2B5EF4-FFF2-40B4-BE49-F238E27FC236}">
                    <a16:creationId xmlns:a16="http://schemas.microsoft.com/office/drawing/2014/main" id="{78F6FCC4-5530-42D1-964A-8FCD018618AC}"/>
                  </a:ext>
                </a:extLst>
              </p:cNvPr>
              <p:cNvSpPr/>
              <p:nvPr/>
            </p:nvSpPr>
            <p:spPr>
              <a:xfrm>
                <a:off x="5581927" y="2097313"/>
                <a:ext cx="938937" cy="834611"/>
              </a:xfrm>
              <a:custGeom>
                <a:avLst/>
                <a:gdLst>
                  <a:gd name="connsiteX0" fmla="*/ 905090 w 938937"/>
                  <a:gd name="connsiteY0" fmla="*/ 418213 h 834611"/>
                  <a:gd name="connsiteX1" fmla="*/ 730284 w 938937"/>
                  <a:gd name="connsiteY1" fmla="*/ 351710 h 834611"/>
                  <a:gd name="connsiteX2" fmla="*/ 730284 w 938937"/>
                  <a:gd name="connsiteY2" fmla="*/ 128701 h 834611"/>
                  <a:gd name="connsiteX3" fmla="*/ 696437 w 938937"/>
                  <a:gd name="connsiteY3" fmla="*/ 79153 h 834611"/>
                  <a:gd name="connsiteX4" fmla="*/ 506102 w 938937"/>
                  <a:gd name="connsiteY4" fmla="*/ 6740 h 834611"/>
                  <a:gd name="connsiteX5" fmla="*/ 469469 w 938937"/>
                  <a:gd name="connsiteY5" fmla="*/ 0 h 834611"/>
                  <a:gd name="connsiteX6" fmla="*/ 432835 w 938937"/>
                  <a:gd name="connsiteY6" fmla="*/ 6740 h 834611"/>
                  <a:gd name="connsiteX7" fmla="*/ 242500 w 938937"/>
                  <a:gd name="connsiteY7" fmla="*/ 79153 h 834611"/>
                  <a:gd name="connsiteX8" fmla="*/ 208653 w 938937"/>
                  <a:gd name="connsiteY8" fmla="*/ 128701 h 834611"/>
                  <a:gd name="connsiteX9" fmla="*/ 208653 w 938937"/>
                  <a:gd name="connsiteY9" fmla="*/ 351710 h 834611"/>
                  <a:gd name="connsiteX10" fmla="*/ 33847 w 938937"/>
                  <a:gd name="connsiteY10" fmla="*/ 418213 h 834611"/>
                  <a:gd name="connsiteX11" fmla="*/ 0 w 938937"/>
                  <a:gd name="connsiteY11" fmla="*/ 467762 h 834611"/>
                  <a:gd name="connsiteX12" fmla="*/ 0 w 938937"/>
                  <a:gd name="connsiteY12" fmla="*/ 705907 h 834611"/>
                  <a:gd name="connsiteX13" fmla="*/ 33847 w 938937"/>
                  <a:gd name="connsiteY13" fmla="*/ 755458 h 834611"/>
                  <a:gd name="connsiteX14" fmla="*/ 224183 w 938937"/>
                  <a:gd name="connsiteY14" fmla="*/ 827871 h 834611"/>
                  <a:gd name="connsiteX15" fmla="*/ 260816 w 938937"/>
                  <a:gd name="connsiteY15" fmla="*/ 834611 h 834611"/>
                  <a:gd name="connsiteX16" fmla="*/ 297449 w 938937"/>
                  <a:gd name="connsiteY16" fmla="*/ 827871 h 834611"/>
                  <a:gd name="connsiteX17" fmla="*/ 469469 w 938937"/>
                  <a:gd name="connsiteY17" fmla="*/ 762429 h 834611"/>
                  <a:gd name="connsiteX18" fmla="*/ 641488 w 938937"/>
                  <a:gd name="connsiteY18" fmla="*/ 827871 h 834611"/>
                  <a:gd name="connsiteX19" fmla="*/ 678121 w 938937"/>
                  <a:gd name="connsiteY19" fmla="*/ 834611 h 834611"/>
                  <a:gd name="connsiteX20" fmla="*/ 714754 w 938937"/>
                  <a:gd name="connsiteY20" fmla="*/ 827871 h 834611"/>
                  <a:gd name="connsiteX21" fmla="*/ 905090 w 938937"/>
                  <a:gd name="connsiteY21" fmla="*/ 755458 h 834611"/>
                  <a:gd name="connsiteX22" fmla="*/ 938937 w 938937"/>
                  <a:gd name="connsiteY22" fmla="*/ 705907 h 834611"/>
                  <a:gd name="connsiteX23" fmla="*/ 938937 w 938937"/>
                  <a:gd name="connsiteY23" fmla="*/ 467762 h 834611"/>
                  <a:gd name="connsiteX24" fmla="*/ 905090 w 938937"/>
                  <a:gd name="connsiteY24" fmla="*/ 418213 h 834611"/>
                  <a:gd name="connsiteX25" fmla="*/ 221693 w 938937"/>
                  <a:gd name="connsiteY25" fmla="*/ 743208 h 834611"/>
                  <a:gd name="connsiteX26" fmla="*/ 78245 w 938937"/>
                  <a:gd name="connsiteY26" fmla="*/ 688634 h 834611"/>
                  <a:gd name="connsiteX27" fmla="*/ 78245 w 938937"/>
                  <a:gd name="connsiteY27" fmla="*/ 550613 h 834611"/>
                  <a:gd name="connsiteX28" fmla="*/ 221693 w 938937"/>
                  <a:gd name="connsiteY28" fmla="*/ 598431 h 834611"/>
                  <a:gd name="connsiteX29" fmla="*/ 221693 w 938937"/>
                  <a:gd name="connsiteY29" fmla="*/ 743208 h 834611"/>
                  <a:gd name="connsiteX30" fmla="*/ 260816 w 938937"/>
                  <a:gd name="connsiteY30" fmla="*/ 529000 h 834611"/>
                  <a:gd name="connsiteX31" fmla="*/ 101915 w 938937"/>
                  <a:gd name="connsiteY31" fmla="*/ 476033 h 834611"/>
                  <a:gd name="connsiteX32" fmla="*/ 250580 w 938937"/>
                  <a:gd name="connsiteY32" fmla="*/ 419474 h 834611"/>
                  <a:gd name="connsiteX33" fmla="*/ 408808 w 938937"/>
                  <a:gd name="connsiteY33" fmla="*/ 479670 h 834611"/>
                  <a:gd name="connsiteX34" fmla="*/ 260816 w 938937"/>
                  <a:gd name="connsiteY34" fmla="*/ 529000 h 834611"/>
                  <a:gd name="connsiteX35" fmla="*/ 430346 w 938937"/>
                  <a:gd name="connsiteY35" fmla="*/ 693594 h 834611"/>
                  <a:gd name="connsiteX36" fmla="*/ 299938 w 938937"/>
                  <a:gd name="connsiteY36" fmla="*/ 743211 h 834611"/>
                  <a:gd name="connsiteX37" fmla="*/ 299938 w 938937"/>
                  <a:gd name="connsiteY37" fmla="*/ 598431 h 834611"/>
                  <a:gd name="connsiteX38" fmla="*/ 430346 w 938937"/>
                  <a:gd name="connsiteY38" fmla="*/ 554959 h 834611"/>
                  <a:gd name="connsiteX39" fmla="*/ 430346 w 938937"/>
                  <a:gd name="connsiteY39" fmla="*/ 693594 h 834611"/>
                  <a:gd name="connsiteX40" fmla="*/ 430346 w 938937"/>
                  <a:gd name="connsiteY40" fmla="*/ 396359 h 834611"/>
                  <a:gd name="connsiteX41" fmla="*/ 297449 w 938937"/>
                  <a:gd name="connsiteY41" fmla="*/ 345801 h 834611"/>
                  <a:gd name="connsiteX42" fmla="*/ 286897 w 938937"/>
                  <a:gd name="connsiteY42" fmla="*/ 342852 h 834611"/>
                  <a:gd name="connsiteX43" fmla="*/ 286897 w 938937"/>
                  <a:gd name="connsiteY43" fmla="*/ 211553 h 834611"/>
                  <a:gd name="connsiteX44" fmla="*/ 430346 w 938937"/>
                  <a:gd name="connsiteY44" fmla="*/ 259370 h 834611"/>
                  <a:gd name="connsiteX45" fmla="*/ 430346 w 938937"/>
                  <a:gd name="connsiteY45" fmla="*/ 396359 h 834611"/>
                  <a:gd name="connsiteX46" fmla="*/ 310568 w 938937"/>
                  <a:gd name="connsiteY46" fmla="*/ 136972 h 834611"/>
                  <a:gd name="connsiteX47" fmla="*/ 460663 w 938937"/>
                  <a:gd name="connsiteY47" fmla="*/ 79868 h 834611"/>
                  <a:gd name="connsiteX48" fmla="*/ 469469 w 938937"/>
                  <a:gd name="connsiteY48" fmla="*/ 78245 h 834611"/>
                  <a:gd name="connsiteX49" fmla="*/ 478278 w 938937"/>
                  <a:gd name="connsiteY49" fmla="*/ 79872 h 834611"/>
                  <a:gd name="connsiteX50" fmla="*/ 628369 w 938937"/>
                  <a:gd name="connsiteY50" fmla="*/ 136972 h 834611"/>
                  <a:gd name="connsiteX51" fmla="*/ 469469 w 938937"/>
                  <a:gd name="connsiteY51" fmla="*/ 189939 h 834611"/>
                  <a:gd name="connsiteX52" fmla="*/ 310568 w 938937"/>
                  <a:gd name="connsiteY52" fmla="*/ 136972 h 834611"/>
                  <a:gd name="connsiteX53" fmla="*/ 652040 w 938937"/>
                  <a:gd name="connsiteY53" fmla="*/ 211553 h 834611"/>
                  <a:gd name="connsiteX54" fmla="*/ 652040 w 938937"/>
                  <a:gd name="connsiteY54" fmla="*/ 342852 h 834611"/>
                  <a:gd name="connsiteX55" fmla="*/ 641488 w 938937"/>
                  <a:gd name="connsiteY55" fmla="*/ 345801 h 834611"/>
                  <a:gd name="connsiteX56" fmla="*/ 508591 w 938937"/>
                  <a:gd name="connsiteY56" fmla="*/ 396359 h 834611"/>
                  <a:gd name="connsiteX57" fmla="*/ 508591 w 938937"/>
                  <a:gd name="connsiteY57" fmla="*/ 259370 h 834611"/>
                  <a:gd name="connsiteX58" fmla="*/ 652040 w 938937"/>
                  <a:gd name="connsiteY58" fmla="*/ 211553 h 834611"/>
                  <a:gd name="connsiteX59" fmla="*/ 638999 w 938937"/>
                  <a:gd name="connsiteY59" fmla="*/ 743208 h 834611"/>
                  <a:gd name="connsiteX60" fmla="*/ 508591 w 938937"/>
                  <a:gd name="connsiteY60" fmla="*/ 693594 h 834611"/>
                  <a:gd name="connsiteX61" fmla="*/ 508591 w 938937"/>
                  <a:gd name="connsiteY61" fmla="*/ 554959 h 834611"/>
                  <a:gd name="connsiteX62" fmla="*/ 638999 w 938937"/>
                  <a:gd name="connsiteY62" fmla="*/ 598431 h 834611"/>
                  <a:gd name="connsiteX63" fmla="*/ 638999 w 938937"/>
                  <a:gd name="connsiteY63" fmla="*/ 743208 h 834611"/>
                  <a:gd name="connsiteX64" fmla="*/ 678121 w 938937"/>
                  <a:gd name="connsiteY64" fmla="*/ 529000 h 834611"/>
                  <a:gd name="connsiteX65" fmla="*/ 530129 w 938937"/>
                  <a:gd name="connsiteY65" fmla="*/ 479670 h 834611"/>
                  <a:gd name="connsiteX66" fmla="*/ 688353 w 938937"/>
                  <a:gd name="connsiteY66" fmla="*/ 419474 h 834611"/>
                  <a:gd name="connsiteX67" fmla="*/ 837022 w 938937"/>
                  <a:gd name="connsiteY67" fmla="*/ 476033 h 834611"/>
                  <a:gd name="connsiteX68" fmla="*/ 678121 w 938937"/>
                  <a:gd name="connsiteY68" fmla="*/ 529000 h 834611"/>
                  <a:gd name="connsiteX69" fmla="*/ 860692 w 938937"/>
                  <a:gd name="connsiteY69" fmla="*/ 688634 h 834611"/>
                  <a:gd name="connsiteX70" fmla="*/ 717244 w 938937"/>
                  <a:gd name="connsiteY70" fmla="*/ 743211 h 834611"/>
                  <a:gd name="connsiteX71" fmla="*/ 717244 w 938937"/>
                  <a:gd name="connsiteY71" fmla="*/ 598431 h 834611"/>
                  <a:gd name="connsiteX72" fmla="*/ 860692 w 938937"/>
                  <a:gd name="connsiteY72" fmla="*/ 550613 h 834611"/>
                  <a:gd name="connsiteX73" fmla="*/ 860692 w 938937"/>
                  <a:gd name="connsiteY73" fmla="*/ 688634 h 834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38937" h="834611">
                    <a:moveTo>
                      <a:pt x="905090" y="418213"/>
                    </a:moveTo>
                    <a:lnTo>
                      <a:pt x="730284" y="351710"/>
                    </a:lnTo>
                    <a:lnTo>
                      <a:pt x="730284" y="128701"/>
                    </a:lnTo>
                    <a:cubicBezTo>
                      <a:pt x="730284" y="106644"/>
                      <a:pt x="716799" y="86899"/>
                      <a:pt x="696437" y="79153"/>
                    </a:cubicBezTo>
                    <a:lnTo>
                      <a:pt x="506102" y="6740"/>
                    </a:lnTo>
                    <a:cubicBezTo>
                      <a:pt x="494290" y="2245"/>
                      <a:pt x="481878" y="0"/>
                      <a:pt x="469469" y="0"/>
                    </a:cubicBezTo>
                    <a:cubicBezTo>
                      <a:pt x="457059" y="0"/>
                      <a:pt x="444647" y="2245"/>
                      <a:pt x="432835" y="6740"/>
                    </a:cubicBezTo>
                    <a:lnTo>
                      <a:pt x="242500" y="79153"/>
                    </a:lnTo>
                    <a:cubicBezTo>
                      <a:pt x="222138" y="86899"/>
                      <a:pt x="208653" y="106644"/>
                      <a:pt x="208653" y="128701"/>
                    </a:cubicBezTo>
                    <a:lnTo>
                      <a:pt x="208653" y="351710"/>
                    </a:lnTo>
                    <a:lnTo>
                      <a:pt x="33847" y="418213"/>
                    </a:lnTo>
                    <a:cubicBezTo>
                      <a:pt x="13486" y="425960"/>
                      <a:pt x="0" y="445705"/>
                      <a:pt x="0" y="467762"/>
                    </a:cubicBezTo>
                    <a:lnTo>
                      <a:pt x="0" y="705907"/>
                    </a:lnTo>
                    <a:cubicBezTo>
                      <a:pt x="0" y="727967"/>
                      <a:pt x="13486" y="747712"/>
                      <a:pt x="33847" y="755458"/>
                    </a:cubicBezTo>
                    <a:lnTo>
                      <a:pt x="224183" y="827871"/>
                    </a:lnTo>
                    <a:cubicBezTo>
                      <a:pt x="235994" y="832363"/>
                      <a:pt x="248406" y="834611"/>
                      <a:pt x="260816" y="834611"/>
                    </a:cubicBezTo>
                    <a:cubicBezTo>
                      <a:pt x="273226" y="834611"/>
                      <a:pt x="285637" y="832363"/>
                      <a:pt x="297449" y="827871"/>
                    </a:cubicBezTo>
                    <a:lnTo>
                      <a:pt x="469469" y="762429"/>
                    </a:lnTo>
                    <a:lnTo>
                      <a:pt x="641488" y="827871"/>
                    </a:lnTo>
                    <a:cubicBezTo>
                      <a:pt x="653300" y="832363"/>
                      <a:pt x="665711" y="834611"/>
                      <a:pt x="678121" y="834611"/>
                    </a:cubicBezTo>
                    <a:cubicBezTo>
                      <a:pt x="690531" y="834611"/>
                      <a:pt x="702943" y="832363"/>
                      <a:pt x="714754" y="827871"/>
                    </a:cubicBezTo>
                    <a:lnTo>
                      <a:pt x="905090" y="755458"/>
                    </a:lnTo>
                    <a:cubicBezTo>
                      <a:pt x="925451" y="747712"/>
                      <a:pt x="938937" y="727967"/>
                      <a:pt x="938937" y="705907"/>
                    </a:cubicBezTo>
                    <a:lnTo>
                      <a:pt x="938937" y="467762"/>
                    </a:lnTo>
                    <a:cubicBezTo>
                      <a:pt x="938937" y="445705"/>
                      <a:pt x="925451" y="425960"/>
                      <a:pt x="905090" y="418213"/>
                    </a:cubicBezTo>
                    <a:close/>
                    <a:moveTo>
                      <a:pt x="221693" y="743208"/>
                    </a:moveTo>
                    <a:lnTo>
                      <a:pt x="78245" y="688634"/>
                    </a:lnTo>
                    <a:lnTo>
                      <a:pt x="78245" y="550613"/>
                    </a:lnTo>
                    <a:lnTo>
                      <a:pt x="221693" y="598431"/>
                    </a:lnTo>
                    <a:lnTo>
                      <a:pt x="221693" y="743208"/>
                    </a:lnTo>
                    <a:close/>
                    <a:moveTo>
                      <a:pt x="260816" y="529000"/>
                    </a:moveTo>
                    <a:lnTo>
                      <a:pt x="101915" y="476033"/>
                    </a:lnTo>
                    <a:lnTo>
                      <a:pt x="250580" y="419474"/>
                    </a:lnTo>
                    <a:lnTo>
                      <a:pt x="408808" y="479670"/>
                    </a:lnTo>
                    <a:lnTo>
                      <a:pt x="260816" y="529000"/>
                    </a:lnTo>
                    <a:close/>
                    <a:moveTo>
                      <a:pt x="430346" y="693594"/>
                    </a:moveTo>
                    <a:lnTo>
                      <a:pt x="299938" y="743211"/>
                    </a:lnTo>
                    <a:lnTo>
                      <a:pt x="299938" y="598431"/>
                    </a:lnTo>
                    <a:lnTo>
                      <a:pt x="430346" y="554959"/>
                    </a:lnTo>
                    <a:lnTo>
                      <a:pt x="430346" y="693594"/>
                    </a:lnTo>
                    <a:close/>
                    <a:moveTo>
                      <a:pt x="430346" y="396359"/>
                    </a:moveTo>
                    <a:lnTo>
                      <a:pt x="297449" y="345801"/>
                    </a:lnTo>
                    <a:cubicBezTo>
                      <a:pt x="294003" y="344489"/>
                      <a:pt x="290428" y="343781"/>
                      <a:pt x="286897" y="342852"/>
                    </a:cubicBezTo>
                    <a:lnTo>
                      <a:pt x="286897" y="211553"/>
                    </a:lnTo>
                    <a:lnTo>
                      <a:pt x="430346" y="259370"/>
                    </a:lnTo>
                    <a:lnTo>
                      <a:pt x="430346" y="396359"/>
                    </a:lnTo>
                    <a:close/>
                    <a:moveTo>
                      <a:pt x="310568" y="136972"/>
                    </a:moveTo>
                    <a:lnTo>
                      <a:pt x="460663" y="79868"/>
                    </a:lnTo>
                    <a:cubicBezTo>
                      <a:pt x="463499" y="78792"/>
                      <a:pt x="466459" y="78245"/>
                      <a:pt x="469469" y="78245"/>
                    </a:cubicBezTo>
                    <a:cubicBezTo>
                      <a:pt x="472478" y="78245"/>
                      <a:pt x="475438" y="78792"/>
                      <a:pt x="478278" y="79872"/>
                    </a:cubicBezTo>
                    <a:lnTo>
                      <a:pt x="628369" y="136972"/>
                    </a:lnTo>
                    <a:lnTo>
                      <a:pt x="469469" y="189939"/>
                    </a:lnTo>
                    <a:lnTo>
                      <a:pt x="310568" y="136972"/>
                    </a:lnTo>
                    <a:close/>
                    <a:moveTo>
                      <a:pt x="652040" y="211553"/>
                    </a:moveTo>
                    <a:lnTo>
                      <a:pt x="652040" y="342852"/>
                    </a:lnTo>
                    <a:cubicBezTo>
                      <a:pt x="648509" y="343780"/>
                      <a:pt x="644934" y="344489"/>
                      <a:pt x="641488" y="345801"/>
                    </a:cubicBezTo>
                    <a:lnTo>
                      <a:pt x="508591" y="396359"/>
                    </a:lnTo>
                    <a:lnTo>
                      <a:pt x="508591" y="259370"/>
                    </a:lnTo>
                    <a:lnTo>
                      <a:pt x="652040" y="211553"/>
                    </a:lnTo>
                    <a:close/>
                    <a:moveTo>
                      <a:pt x="638999" y="743208"/>
                    </a:moveTo>
                    <a:lnTo>
                      <a:pt x="508591" y="693594"/>
                    </a:lnTo>
                    <a:lnTo>
                      <a:pt x="508591" y="554959"/>
                    </a:lnTo>
                    <a:lnTo>
                      <a:pt x="638999" y="598431"/>
                    </a:lnTo>
                    <a:lnTo>
                      <a:pt x="638999" y="743208"/>
                    </a:lnTo>
                    <a:close/>
                    <a:moveTo>
                      <a:pt x="678121" y="529000"/>
                    </a:moveTo>
                    <a:lnTo>
                      <a:pt x="530129" y="479670"/>
                    </a:lnTo>
                    <a:lnTo>
                      <a:pt x="688353" y="419474"/>
                    </a:lnTo>
                    <a:lnTo>
                      <a:pt x="837022" y="476033"/>
                    </a:lnTo>
                    <a:lnTo>
                      <a:pt x="678121" y="529000"/>
                    </a:lnTo>
                    <a:close/>
                    <a:moveTo>
                      <a:pt x="860692" y="688634"/>
                    </a:moveTo>
                    <a:lnTo>
                      <a:pt x="717244" y="743211"/>
                    </a:lnTo>
                    <a:lnTo>
                      <a:pt x="717244" y="598431"/>
                    </a:lnTo>
                    <a:lnTo>
                      <a:pt x="860692" y="550613"/>
                    </a:lnTo>
                    <a:lnTo>
                      <a:pt x="860692" y="688634"/>
                    </a:lnTo>
                    <a:close/>
                  </a:path>
                </a:pathLst>
              </a:custGeom>
              <a:solidFill>
                <a:schemeClr val="bg1"/>
              </a:solidFill>
              <a:ln w="1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4" name="grey">
              <a:extLst>
                <a:ext uri="{FF2B5EF4-FFF2-40B4-BE49-F238E27FC236}">
                  <a16:creationId xmlns:a16="http://schemas.microsoft.com/office/drawing/2014/main" id="{449BAFBD-79CD-4989-0F92-7C40B9534408}"/>
                </a:ext>
              </a:extLst>
            </p:cNvPr>
            <p:cNvGrpSpPr/>
            <p:nvPr/>
          </p:nvGrpSpPr>
          <p:grpSpPr>
            <a:xfrm>
              <a:off x="2899864" y="1773538"/>
              <a:ext cx="2017644" cy="3702591"/>
              <a:chOff x="2899864" y="1773538"/>
              <a:chExt cx="2017644" cy="370259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8B4D636-DEDA-E937-709F-141EDEF96228}"/>
                  </a:ext>
                </a:extLst>
              </p:cNvPr>
              <p:cNvSpPr/>
              <p:nvPr/>
            </p:nvSpPr>
            <p:spPr>
              <a:xfrm>
                <a:off x="2901207" y="1781555"/>
                <a:ext cx="2012490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rgbClr val="667888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3C2E527-0887-C764-618B-F4A3A199B2CA}"/>
                  </a:ext>
                </a:extLst>
              </p:cNvPr>
              <p:cNvSpPr/>
              <p:nvPr/>
            </p:nvSpPr>
            <p:spPr>
              <a:xfrm>
                <a:off x="2899864" y="1773538"/>
                <a:ext cx="2017644" cy="2156791"/>
              </a:xfrm>
              <a:prstGeom prst="rect">
                <a:avLst/>
              </a:prstGeom>
              <a:solidFill>
                <a:srgbClr val="667888"/>
              </a:solidFill>
              <a:ln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5" name="navy">
              <a:extLst>
                <a:ext uri="{FF2B5EF4-FFF2-40B4-BE49-F238E27FC236}">
                  <a16:creationId xmlns:a16="http://schemas.microsoft.com/office/drawing/2014/main" id="{02792226-20FD-1DC7-3843-2905C67D58F5}"/>
                </a:ext>
              </a:extLst>
            </p:cNvPr>
            <p:cNvGrpSpPr/>
            <p:nvPr/>
          </p:nvGrpSpPr>
          <p:grpSpPr>
            <a:xfrm>
              <a:off x="757154" y="1773538"/>
              <a:ext cx="2017644" cy="3702591"/>
              <a:chOff x="757154" y="1773538"/>
              <a:chExt cx="2017644" cy="3702591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1E48A32D-9F58-D0F3-5C70-C9C28EAE2FE6}"/>
                  </a:ext>
                </a:extLst>
              </p:cNvPr>
              <p:cNvSpPr/>
              <p:nvPr/>
            </p:nvSpPr>
            <p:spPr>
              <a:xfrm>
                <a:off x="758950" y="1781555"/>
                <a:ext cx="2015846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tx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4713FAC5-A191-78EA-F0A9-4D3E96CC305F}"/>
                  </a:ext>
                </a:extLst>
              </p:cNvPr>
              <p:cNvSpPr/>
              <p:nvPr/>
            </p:nvSpPr>
            <p:spPr>
              <a:xfrm>
                <a:off x="757154" y="1773538"/>
                <a:ext cx="2017644" cy="2156791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</p:grp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BA09068-21F1-0393-484F-870B7125C63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962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6" name="Picture Placeholder 34">
            <a:extLst>
              <a:ext uri="{FF2B5EF4-FFF2-40B4-BE49-F238E27FC236}">
                <a16:creationId xmlns:a16="http://schemas.microsoft.com/office/drawing/2014/main" id="{422BFF1B-B11A-1393-BFB1-CE8B0EAD08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25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Picture Placeholder 34">
            <a:extLst>
              <a:ext uri="{FF2B5EF4-FFF2-40B4-BE49-F238E27FC236}">
                <a16:creationId xmlns:a16="http://schemas.microsoft.com/office/drawing/2014/main" id="{97DC366D-4449-876A-F60F-0BA8783AB9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8743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0D03CD74-D598-9D08-6761-1DACAD2B87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40525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9" name="Picture Placeholder 34">
            <a:extLst>
              <a:ext uri="{FF2B5EF4-FFF2-40B4-BE49-F238E27FC236}">
                <a16:creationId xmlns:a16="http://schemas.microsoft.com/office/drawing/2014/main" id="{B04AB626-AD9E-ED3C-C2E2-3BF5A1FCA2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47438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A339793-3B6F-68FC-BB57-7F3466979D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10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921BB216-DA44-3E7D-3EF3-2987AE7DAF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27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A6835B62-7630-4965-8149-BBD4B7E031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563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4A07CC8E-7656-FD36-9E35-C279C2433F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05055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0">
            <a:extLst>
              <a:ext uri="{FF2B5EF4-FFF2-40B4-BE49-F238E27FC236}">
                <a16:creationId xmlns:a16="http://schemas.microsoft.com/office/drawing/2014/main" id="{ECEFE3AC-B664-7328-D7BF-F99711772C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778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2C534E6-2ADF-7EAD-9032-D27F7FD65E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7764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tx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2F7B0117-0731-F79A-7317-AD49F92893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0445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6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502B17F2-3455-965D-ABAC-69BA7656EC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2354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F91223B9-525C-E9A3-95C9-7089B304C5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82749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A678B3F4-3DCB-E48C-7BC5-35C972EA5AE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4170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3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0A892FD-1418-02EC-C808-1E58D1AE179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1068" y="5554663"/>
            <a:ext cx="10571562" cy="368300"/>
          </a:xfrm>
          <a:solidFill>
            <a:schemeClr val="tx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52">
            <a:extLst>
              <a:ext uri="{FF2B5EF4-FFF2-40B4-BE49-F238E27FC236}">
                <a16:creationId xmlns:a16="http://schemas.microsoft.com/office/drawing/2014/main" id="{B51D7DB3-6688-03D4-4645-CF35E667D29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1068" y="5999163"/>
            <a:ext cx="10571562" cy="3683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5" name="ideagen logo">
            <a:extLst>
              <a:ext uri="{FF2B5EF4-FFF2-40B4-BE49-F238E27FC236}">
                <a16:creationId xmlns:a16="http://schemas.microsoft.com/office/drawing/2014/main" id="{2390DE35-7DAC-8355-C33A-3E09684D5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05090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/Integ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integration diagram">
            <a:extLst>
              <a:ext uri="{FF2B5EF4-FFF2-40B4-BE49-F238E27FC236}">
                <a16:creationId xmlns:a16="http://schemas.microsoft.com/office/drawing/2014/main" id="{BDFA4F5D-2DD9-17C9-44B5-9D273E67AB35}"/>
              </a:ext>
            </a:extLst>
          </p:cNvPr>
          <p:cNvGrpSpPr/>
          <p:nvPr userDrawn="1"/>
        </p:nvGrpSpPr>
        <p:grpSpPr>
          <a:xfrm>
            <a:off x="757154" y="1773538"/>
            <a:ext cx="10588486" cy="3702591"/>
            <a:chOff x="757154" y="1773538"/>
            <a:chExt cx="10588486" cy="3702591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9B88C5E4-184F-1F88-0D6E-52B196300468}"/>
                </a:ext>
              </a:extLst>
            </p:cNvPr>
            <p:cNvSpPr/>
            <p:nvPr/>
          </p:nvSpPr>
          <p:spPr>
            <a:xfrm flipH="1">
              <a:off x="9005112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3"/>
                </a:gs>
                <a:gs pos="70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DE8CA9C9-1992-180F-034F-DDE579CAFBFF}"/>
                </a:ext>
              </a:extLst>
            </p:cNvPr>
            <p:cNvSpPr/>
            <p:nvPr/>
          </p:nvSpPr>
          <p:spPr>
            <a:xfrm flipH="1">
              <a:off x="6861680" y="1773538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1"/>
                </a:gs>
                <a:gs pos="70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EFA5D4A2-574D-699B-D773-A446F775FA92}"/>
                </a:ext>
              </a:extLst>
            </p:cNvPr>
            <p:cNvSpPr/>
            <p:nvPr/>
          </p:nvSpPr>
          <p:spPr>
            <a:xfrm flipH="1">
              <a:off x="4714415" y="1777790"/>
              <a:ext cx="519850" cy="2152539"/>
            </a:xfrm>
            <a:prstGeom prst="parallelogram">
              <a:avLst>
                <a:gd name="adj" fmla="val 59650"/>
              </a:avLst>
            </a:prstGeom>
            <a:gradFill>
              <a:gsLst>
                <a:gs pos="30000">
                  <a:schemeClr val="accent2"/>
                </a:gs>
                <a:gs pos="7000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D724BE08-0AC7-07FB-96E5-9C79463DD292}"/>
                </a:ext>
              </a:extLst>
            </p:cNvPr>
            <p:cNvSpPr/>
            <p:nvPr/>
          </p:nvSpPr>
          <p:spPr>
            <a:xfrm flipH="1">
              <a:off x="2574719" y="1777790"/>
              <a:ext cx="519850" cy="2152539"/>
            </a:xfrm>
            <a:prstGeom prst="parallelogram">
              <a:avLst>
                <a:gd name="adj" fmla="val 60581"/>
              </a:avLst>
            </a:prstGeom>
            <a:gradFill>
              <a:gsLst>
                <a:gs pos="70000">
                  <a:schemeClr val="tx2"/>
                </a:gs>
                <a:gs pos="0">
                  <a:srgbClr val="66788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magenta">
              <a:extLst>
                <a:ext uri="{FF2B5EF4-FFF2-40B4-BE49-F238E27FC236}">
                  <a16:creationId xmlns:a16="http://schemas.microsoft.com/office/drawing/2014/main" id="{55CCFB6F-D022-2A6E-D374-789130ECEC42}"/>
                </a:ext>
              </a:extLst>
            </p:cNvPr>
            <p:cNvGrpSpPr/>
            <p:nvPr/>
          </p:nvGrpSpPr>
          <p:grpSpPr>
            <a:xfrm>
              <a:off x="9327994" y="1773538"/>
              <a:ext cx="2017646" cy="3702591"/>
              <a:chOff x="9327994" y="1773538"/>
              <a:chExt cx="2017646" cy="370259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3345523-B73C-DCEA-EAC2-F21897104EDE}"/>
                  </a:ext>
                </a:extLst>
              </p:cNvPr>
              <p:cNvSpPr/>
              <p:nvPr/>
            </p:nvSpPr>
            <p:spPr>
              <a:xfrm>
                <a:off x="9327994" y="1781555"/>
                <a:ext cx="2010025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3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E6440D7-25D7-B24C-A271-F5265B273CAB}"/>
                  </a:ext>
                </a:extLst>
              </p:cNvPr>
              <p:cNvSpPr/>
              <p:nvPr/>
            </p:nvSpPr>
            <p:spPr>
              <a:xfrm>
                <a:off x="9327996" y="1773538"/>
                <a:ext cx="2017644" cy="2156791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2" name="dark teal">
              <a:extLst>
                <a:ext uri="{FF2B5EF4-FFF2-40B4-BE49-F238E27FC236}">
                  <a16:creationId xmlns:a16="http://schemas.microsoft.com/office/drawing/2014/main" id="{E9CB33C2-5ADC-FF53-6EAF-A3180053E50D}"/>
                </a:ext>
              </a:extLst>
            </p:cNvPr>
            <p:cNvGrpSpPr/>
            <p:nvPr/>
          </p:nvGrpSpPr>
          <p:grpSpPr>
            <a:xfrm>
              <a:off x="7185284" y="1773538"/>
              <a:ext cx="2017644" cy="3694574"/>
              <a:chOff x="7185284" y="1773538"/>
              <a:chExt cx="2017644" cy="369457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FBA7A26-2311-13DA-C957-0B7D1C8FF7EE}"/>
                  </a:ext>
                </a:extLst>
              </p:cNvPr>
              <p:cNvSpPr/>
              <p:nvPr/>
            </p:nvSpPr>
            <p:spPr>
              <a:xfrm>
                <a:off x="7189096" y="1773538"/>
                <a:ext cx="2013832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1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6084705-3AB3-4C6D-E103-1ABE6488420F}"/>
                  </a:ext>
                </a:extLst>
              </p:cNvPr>
              <p:cNvSpPr/>
              <p:nvPr/>
            </p:nvSpPr>
            <p:spPr>
              <a:xfrm>
                <a:off x="7185284" y="1773538"/>
                <a:ext cx="2017644" cy="2156791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3" name="light teal">
              <a:extLst>
                <a:ext uri="{FF2B5EF4-FFF2-40B4-BE49-F238E27FC236}">
                  <a16:creationId xmlns:a16="http://schemas.microsoft.com/office/drawing/2014/main" id="{7C685E5E-EC21-D6CF-3F1B-A6C8E81E394E}"/>
                </a:ext>
              </a:extLst>
            </p:cNvPr>
            <p:cNvGrpSpPr/>
            <p:nvPr/>
          </p:nvGrpSpPr>
          <p:grpSpPr>
            <a:xfrm>
              <a:off x="5038765" y="1773538"/>
              <a:ext cx="2021453" cy="3702591"/>
              <a:chOff x="5038765" y="1773538"/>
              <a:chExt cx="2021453" cy="370259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E3E97FE-AC55-DE41-33A5-64BCA1E39B09}"/>
                  </a:ext>
                </a:extLst>
              </p:cNvPr>
              <p:cNvSpPr/>
              <p:nvPr/>
            </p:nvSpPr>
            <p:spPr>
              <a:xfrm>
                <a:off x="5038765" y="1781555"/>
                <a:ext cx="2015348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accent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14B4E4C-BCB7-185B-92F5-F47E550EAE6B}"/>
                  </a:ext>
                </a:extLst>
              </p:cNvPr>
              <p:cNvSpPr/>
              <p:nvPr/>
            </p:nvSpPr>
            <p:spPr>
              <a:xfrm>
                <a:off x="5042574" y="1773538"/>
                <a:ext cx="2017644" cy="215679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  <p:sp>
            <p:nvSpPr>
              <p:cNvPr id="25" name="cubes icon" hidden="1">
                <a:extLst>
                  <a:ext uri="{FF2B5EF4-FFF2-40B4-BE49-F238E27FC236}">
                    <a16:creationId xmlns:a16="http://schemas.microsoft.com/office/drawing/2014/main" id="{78F6FCC4-5530-42D1-964A-8FCD018618AC}"/>
                  </a:ext>
                </a:extLst>
              </p:cNvPr>
              <p:cNvSpPr/>
              <p:nvPr/>
            </p:nvSpPr>
            <p:spPr>
              <a:xfrm>
                <a:off x="5581927" y="2097313"/>
                <a:ext cx="938937" cy="834611"/>
              </a:xfrm>
              <a:custGeom>
                <a:avLst/>
                <a:gdLst>
                  <a:gd name="connsiteX0" fmla="*/ 905090 w 938937"/>
                  <a:gd name="connsiteY0" fmla="*/ 418213 h 834611"/>
                  <a:gd name="connsiteX1" fmla="*/ 730284 w 938937"/>
                  <a:gd name="connsiteY1" fmla="*/ 351710 h 834611"/>
                  <a:gd name="connsiteX2" fmla="*/ 730284 w 938937"/>
                  <a:gd name="connsiteY2" fmla="*/ 128701 h 834611"/>
                  <a:gd name="connsiteX3" fmla="*/ 696437 w 938937"/>
                  <a:gd name="connsiteY3" fmla="*/ 79153 h 834611"/>
                  <a:gd name="connsiteX4" fmla="*/ 506102 w 938937"/>
                  <a:gd name="connsiteY4" fmla="*/ 6740 h 834611"/>
                  <a:gd name="connsiteX5" fmla="*/ 469469 w 938937"/>
                  <a:gd name="connsiteY5" fmla="*/ 0 h 834611"/>
                  <a:gd name="connsiteX6" fmla="*/ 432835 w 938937"/>
                  <a:gd name="connsiteY6" fmla="*/ 6740 h 834611"/>
                  <a:gd name="connsiteX7" fmla="*/ 242500 w 938937"/>
                  <a:gd name="connsiteY7" fmla="*/ 79153 h 834611"/>
                  <a:gd name="connsiteX8" fmla="*/ 208653 w 938937"/>
                  <a:gd name="connsiteY8" fmla="*/ 128701 h 834611"/>
                  <a:gd name="connsiteX9" fmla="*/ 208653 w 938937"/>
                  <a:gd name="connsiteY9" fmla="*/ 351710 h 834611"/>
                  <a:gd name="connsiteX10" fmla="*/ 33847 w 938937"/>
                  <a:gd name="connsiteY10" fmla="*/ 418213 h 834611"/>
                  <a:gd name="connsiteX11" fmla="*/ 0 w 938937"/>
                  <a:gd name="connsiteY11" fmla="*/ 467762 h 834611"/>
                  <a:gd name="connsiteX12" fmla="*/ 0 w 938937"/>
                  <a:gd name="connsiteY12" fmla="*/ 705907 h 834611"/>
                  <a:gd name="connsiteX13" fmla="*/ 33847 w 938937"/>
                  <a:gd name="connsiteY13" fmla="*/ 755458 h 834611"/>
                  <a:gd name="connsiteX14" fmla="*/ 224183 w 938937"/>
                  <a:gd name="connsiteY14" fmla="*/ 827871 h 834611"/>
                  <a:gd name="connsiteX15" fmla="*/ 260816 w 938937"/>
                  <a:gd name="connsiteY15" fmla="*/ 834611 h 834611"/>
                  <a:gd name="connsiteX16" fmla="*/ 297449 w 938937"/>
                  <a:gd name="connsiteY16" fmla="*/ 827871 h 834611"/>
                  <a:gd name="connsiteX17" fmla="*/ 469469 w 938937"/>
                  <a:gd name="connsiteY17" fmla="*/ 762429 h 834611"/>
                  <a:gd name="connsiteX18" fmla="*/ 641488 w 938937"/>
                  <a:gd name="connsiteY18" fmla="*/ 827871 h 834611"/>
                  <a:gd name="connsiteX19" fmla="*/ 678121 w 938937"/>
                  <a:gd name="connsiteY19" fmla="*/ 834611 h 834611"/>
                  <a:gd name="connsiteX20" fmla="*/ 714754 w 938937"/>
                  <a:gd name="connsiteY20" fmla="*/ 827871 h 834611"/>
                  <a:gd name="connsiteX21" fmla="*/ 905090 w 938937"/>
                  <a:gd name="connsiteY21" fmla="*/ 755458 h 834611"/>
                  <a:gd name="connsiteX22" fmla="*/ 938937 w 938937"/>
                  <a:gd name="connsiteY22" fmla="*/ 705907 h 834611"/>
                  <a:gd name="connsiteX23" fmla="*/ 938937 w 938937"/>
                  <a:gd name="connsiteY23" fmla="*/ 467762 h 834611"/>
                  <a:gd name="connsiteX24" fmla="*/ 905090 w 938937"/>
                  <a:gd name="connsiteY24" fmla="*/ 418213 h 834611"/>
                  <a:gd name="connsiteX25" fmla="*/ 221693 w 938937"/>
                  <a:gd name="connsiteY25" fmla="*/ 743208 h 834611"/>
                  <a:gd name="connsiteX26" fmla="*/ 78245 w 938937"/>
                  <a:gd name="connsiteY26" fmla="*/ 688634 h 834611"/>
                  <a:gd name="connsiteX27" fmla="*/ 78245 w 938937"/>
                  <a:gd name="connsiteY27" fmla="*/ 550613 h 834611"/>
                  <a:gd name="connsiteX28" fmla="*/ 221693 w 938937"/>
                  <a:gd name="connsiteY28" fmla="*/ 598431 h 834611"/>
                  <a:gd name="connsiteX29" fmla="*/ 221693 w 938937"/>
                  <a:gd name="connsiteY29" fmla="*/ 743208 h 834611"/>
                  <a:gd name="connsiteX30" fmla="*/ 260816 w 938937"/>
                  <a:gd name="connsiteY30" fmla="*/ 529000 h 834611"/>
                  <a:gd name="connsiteX31" fmla="*/ 101915 w 938937"/>
                  <a:gd name="connsiteY31" fmla="*/ 476033 h 834611"/>
                  <a:gd name="connsiteX32" fmla="*/ 250580 w 938937"/>
                  <a:gd name="connsiteY32" fmla="*/ 419474 h 834611"/>
                  <a:gd name="connsiteX33" fmla="*/ 408808 w 938937"/>
                  <a:gd name="connsiteY33" fmla="*/ 479670 h 834611"/>
                  <a:gd name="connsiteX34" fmla="*/ 260816 w 938937"/>
                  <a:gd name="connsiteY34" fmla="*/ 529000 h 834611"/>
                  <a:gd name="connsiteX35" fmla="*/ 430346 w 938937"/>
                  <a:gd name="connsiteY35" fmla="*/ 693594 h 834611"/>
                  <a:gd name="connsiteX36" fmla="*/ 299938 w 938937"/>
                  <a:gd name="connsiteY36" fmla="*/ 743211 h 834611"/>
                  <a:gd name="connsiteX37" fmla="*/ 299938 w 938937"/>
                  <a:gd name="connsiteY37" fmla="*/ 598431 h 834611"/>
                  <a:gd name="connsiteX38" fmla="*/ 430346 w 938937"/>
                  <a:gd name="connsiteY38" fmla="*/ 554959 h 834611"/>
                  <a:gd name="connsiteX39" fmla="*/ 430346 w 938937"/>
                  <a:gd name="connsiteY39" fmla="*/ 693594 h 834611"/>
                  <a:gd name="connsiteX40" fmla="*/ 430346 w 938937"/>
                  <a:gd name="connsiteY40" fmla="*/ 396359 h 834611"/>
                  <a:gd name="connsiteX41" fmla="*/ 297449 w 938937"/>
                  <a:gd name="connsiteY41" fmla="*/ 345801 h 834611"/>
                  <a:gd name="connsiteX42" fmla="*/ 286897 w 938937"/>
                  <a:gd name="connsiteY42" fmla="*/ 342852 h 834611"/>
                  <a:gd name="connsiteX43" fmla="*/ 286897 w 938937"/>
                  <a:gd name="connsiteY43" fmla="*/ 211553 h 834611"/>
                  <a:gd name="connsiteX44" fmla="*/ 430346 w 938937"/>
                  <a:gd name="connsiteY44" fmla="*/ 259370 h 834611"/>
                  <a:gd name="connsiteX45" fmla="*/ 430346 w 938937"/>
                  <a:gd name="connsiteY45" fmla="*/ 396359 h 834611"/>
                  <a:gd name="connsiteX46" fmla="*/ 310568 w 938937"/>
                  <a:gd name="connsiteY46" fmla="*/ 136972 h 834611"/>
                  <a:gd name="connsiteX47" fmla="*/ 460663 w 938937"/>
                  <a:gd name="connsiteY47" fmla="*/ 79868 h 834611"/>
                  <a:gd name="connsiteX48" fmla="*/ 469469 w 938937"/>
                  <a:gd name="connsiteY48" fmla="*/ 78245 h 834611"/>
                  <a:gd name="connsiteX49" fmla="*/ 478278 w 938937"/>
                  <a:gd name="connsiteY49" fmla="*/ 79872 h 834611"/>
                  <a:gd name="connsiteX50" fmla="*/ 628369 w 938937"/>
                  <a:gd name="connsiteY50" fmla="*/ 136972 h 834611"/>
                  <a:gd name="connsiteX51" fmla="*/ 469469 w 938937"/>
                  <a:gd name="connsiteY51" fmla="*/ 189939 h 834611"/>
                  <a:gd name="connsiteX52" fmla="*/ 310568 w 938937"/>
                  <a:gd name="connsiteY52" fmla="*/ 136972 h 834611"/>
                  <a:gd name="connsiteX53" fmla="*/ 652040 w 938937"/>
                  <a:gd name="connsiteY53" fmla="*/ 211553 h 834611"/>
                  <a:gd name="connsiteX54" fmla="*/ 652040 w 938937"/>
                  <a:gd name="connsiteY54" fmla="*/ 342852 h 834611"/>
                  <a:gd name="connsiteX55" fmla="*/ 641488 w 938937"/>
                  <a:gd name="connsiteY55" fmla="*/ 345801 h 834611"/>
                  <a:gd name="connsiteX56" fmla="*/ 508591 w 938937"/>
                  <a:gd name="connsiteY56" fmla="*/ 396359 h 834611"/>
                  <a:gd name="connsiteX57" fmla="*/ 508591 w 938937"/>
                  <a:gd name="connsiteY57" fmla="*/ 259370 h 834611"/>
                  <a:gd name="connsiteX58" fmla="*/ 652040 w 938937"/>
                  <a:gd name="connsiteY58" fmla="*/ 211553 h 834611"/>
                  <a:gd name="connsiteX59" fmla="*/ 638999 w 938937"/>
                  <a:gd name="connsiteY59" fmla="*/ 743208 h 834611"/>
                  <a:gd name="connsiteX60" fmla="*/ 508591 w 938937"/>
                  <a:gd name="connsiteY60" fmla="*/ 693594 h 834611"/>
                  <a:gd name="connsiteX61" fmla="*/ 508591 w 938937"/>
                  <a:gd name="connsiteY61" fmla="*/ 554959 h 834611"/>
                  <a:gd name="connsiteX62" fmla="*/ 638999 w 938937"/>
                  <a:gd name="connsiteY62" fmla="*/ 598431 h 834611"/>
                  <a:gd name="connsiteX63" fmla="*/ 638999 w 938937"/>
                  <a:gd name="connsiteY63" fmla="*/ 743208 h 834611"/>
                  <a:gd name="connsiteX64" fmla="*/ 678121 w 938937"/>
                  <a:gd name="connsiteY64" fmla="*/ 529000 h 834611"/>
                  <a:gd name="connsiteX65" fmla="*/ 530129 w 938937"/>
                  <a:gd name="connsiteY65" fmla="*/ 479670 h 834611"/>
                  <a:gd name="connsiteX66" fmla="*/ 688353 w 938937"/>
                  <a:gd name="connsiteY66" fmla="*/ 419474 h 834611"/>
                  <a:gd name="connsiteX67" fmla="*/ 837022 w 938937"/>
                  <a:gd name="connsiteY67" fmla="*/ 476033 h 834611"/>
                  <a:gd name="connsiteX68" fmla="*/ 678121 w 938937"/>
                  <a:gd name="connsiteY68" fmla="*/ 529000 h 834611"/>
                  <a:gd name="connsiteX69" fmla="*/ 860692 w 938937"/>
                  <a:gd name="connsiteY69" fmla="*/ 688634 h 834611"/>
                  <a:gd name="connsiteX70" fmla="*/ 717244 w 938937"/>
                  <a:gd name="connsiteY70" fmla="*/ 743211 h 834611"/>
                  <a:gd name="connsiteX71" fmla="*/ 717244 w 938937"/>
                  <a:gd name="connsiteY71" fmla="*/ 598431 h 834611"/>
                  <a:gd name="connsiteX72" fmla="*/ 860692 w 938937"/>
                  <a:gd name="connsiteY72" fmla="*/ 550613 h 834611"/>
                  <a:gd name="connsiteX73" fmla="*/ 860692 w 938937"/>
                  <a:gd name="connsiteY73" fmla="*/ 688634 h 834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38937" h="834611">
                    <a:moveTo>
                      <a:pt x="905090" y="418213"/>
                    </a:moveTo>
                    <a:lnTo>
                      <a:pt x="730284" y="351710"/>
                    </a:lnTo>
                    <a:lnTo>
                      <a:pt x="730284" y="128701"/>
                    </a:lnTo>
                    <a:cubicBezTo>
                      <a:pt x="730284" y="106644"/>
                      <a:pt x="716799" y="86899"/>
                      <a:pt x="696437" y="79153"/>
                    </a:cubicBezTo>
                    <a:lnTo>
                      <a:pt x="506102" y="6740"/>
                    </a:lnTo>
                    <a:cubicBezTo>
                      <a:pt x="494290" y="2245"/>
                      <a:pt x="481878" y="0"/>
                      <a:pt x="469469" y="0"/>
                    </a:cubicBezTo>
                    <a:cubicBezTo>
                      <a:pt x="457059" y="0"/>
                      <a:pt x="444647" y="2245"/>
                      <a:pt x="432835" y="6740"/>
                    </a:cubicBezTo>
                    <a:lnTo>
                      <a:pt x="242500" y="79153"/>
                    </a:lnTo>
                    <a:cubicBezTo>
                      <a:pt x="222138" y="86899"/>
                      <a:pt x="208653" y="106644"/>
                      <a:pt x="208653" y="128701"/>
                    </a:cubicBezTo>
                    <a:lnTo>
                      <a:pt x="208653" y="351710"/>
                    </a:lnTo>
                    <a:lnTo>
                      <a:pt x="33847" y="418213"/>
                    </a:lnTo>
                    <a:cubicBezTo>
                      <a:pt x="13486" y="425960"/>
                      <a:pt x="0" y="445705"/>
                      <a:pt x="0" y="467762"/>
                    </a:cubicBezTo>
                    <a:lnTo>
                      <a:pt x="0" y="705907"/>
                    </a:lnTo>
                    <a:cubicBezTo>
                      <a:pt x="0" y="727967"/>
                      <a:pt x="13486" y="747712"/>
                      <a:pt x="33847" y="755458"/>
                    </a:cubicBezTo>
                    <a:lnTo>
                      <a:pt x="224183" y="827871"/>
                    </a:lnTo>
                    <a:cubicBezTo>
                      <a:pt x="235994" y="832363"/>
                      <a:pt x="248406" y="834611"/>
                      <a:pt x="260816" y="834611"/>
                    </a:cubicBezTo>
                    <a:cubicBezTo>
                      <a:pt x="273226" y="834611"/>
                      <a:pt x="285637" y="832363"/>
                      <a:pt x="297449" y="827871"/>
                    </a:cubicBezTo>
                    <a:lnTo>
                      <a:pt x="469469" y="762429"/>
                    </a:lnTo>
                    <a:lnTo>
                      <a:pt x="641488" y="827871"/>
                    </a:lnTo>
                    <a:cubicBezTo>
                      <a:pt x="653300" y="832363"/>
                      <a:pt x="665711" y="834611"/>
                      <a:pt x="678121" y="834611"/>
                    </a:cubicBezTo>
                    <a:cubicBezTo>
                      <a:pt x="690531" y="834611"/>
                      <a:pt x="702943" y="832363"/>
                      <a:pt x="714754" y="827871"/>
                    </a:cubicBezTo>
                    <a:lnTo>
                      <a:pt x="905090" y="755458"/>
                    </a:lnTo>
                    <a:cubicBezTo>
                      <a:pt x="925451" y="747712"/>
                      <a:pt x="938937" y="727967"/>
                      <a:pt x="938937" y="705907"/>
                    </a:cubicBezTo>
                    <a:lnTo>
                      <a:pt x="938937" y="467762"/>
                    </a:lnTo>
                    <a:cubicBezTo>
                      <a:pt x="938937" y="445705"/>
                      <a:pt x="925451" y="425960"/>
                      <a:pt x="905090" y="418213"/>
                    </a:cubicBezTo>
                    <a:close/>
                    <a:moveTo>
                      <a:pt x="221693" y="743208"/>
                    </a:moveTo>
                    <a:lnTo>
                      <a:pt x="78245" y="688634"/>
                    </a:lnTo>
                    <a:lnTo>
                      <a:pt x="78245" y="550613"/>
                    </a:lnTo>
                    <a:lnTo>
                      <a:pt x="221693" y="598431"/>
                    </a:lnTo>
                    <a:lnTo>
                      <a:pt x="221693" y="743208"/>
                    </a:lnTo>
                    <a:close/>
                    <a:moveTo>
                      <a:pt x="260816" y="529000"/>
                    </a:moveTo>
                    <a:lnTo>
                      <a:pt x="101915" y="476033"/>
                    </a:lnTo>
                    <a:lnTo>
                      <a:pt x="250580" y="419474"/>
                    </a:lnTo>
                    <a:lnTo>
                      <a:pt x="408808" y="479670"/>
                    </a:lnTo>
                    <a:lnTo>
                      <a:pt x="260816" y="529000"/>
                    </a:lnTo>
                    <a:close/>
                    <a:moveTo>
                      <a:pt x="430346" y="693594"/>
                    </a:moveTo>
                    <a:lnTo>
                      <a:pt x="299938" y="743211"/>
                    </a:lnTo>
                    <a:lnTo>
                      <a:pt x="299938" y="598431"/>
                    </a:lnTo>
                    <a:lnTo>
                      <a:pt x="430346" y="554959"/>
                    </a:lnTo>
                    <a:lnTo>
                      <a:pt x="430346" y="693594"/>
                    </a:lnTo>
                    <a:close/>
                    <a:moveTo>
                      <a:pt x="430346" y="396359"/>
                    </a:moveTo>
                    <a:lnTo>
                      <a:pt x="297449" y="345801"/>
                    </a:lnTo>
                    <a:cubicBezTo>
                      <a:pt x="294003" y="344489"/>
                      <a:pt x="290428" y="343781"/>
                      <a:pt x="286897" y="342852"/>
                    </a:cubicBezTo>
                    <a:lnTo>
                      <a:pt x="286897" y="211553"/>
                    </a:lnTo>
                    <a:lnTo>
                      <a:pt x="430346" y="259370"/>
                    </a:lnTo>
                    <a:lnTo>
                      <a:pt x="430346" y="396359"/>
                    </a:lnTo>
                    <a:close/>
                    <a:moveTo>
                      <a:pt x="310568" y="136972"/>
                    </a:moveTo>
                    <a:lnTo>
                      <a:pt x="460663" y="79868"/>
                    </a:lnTo>
                    <a:cubicBezTo>
                      <a:pt x="463499" y="78792"/>
                      <a:pt x="466459" y="78245"/>
                      <a:pt x="469469" y="78245"/>
                    </a:cubicBezTo>
                    <a:cubicBezTo>
                      <a:pt x="472478" y="78245"/>
                      <a:pt x="475438" y="78792"/>
                      <a:pt x="478278" y="79872"/>
                    </a:cubicBezTo>
                    <a:lnTo>
                      <a:pt x="628369" y="136972"/>
                    </a:lnTo>
                    <a:lnTo>
                      <a:pt x="469469" y="189939"/>
                    </a:lnTo>
                    <a:lnTo>
                      <a:pt x="310568" y="136972"/>
                    </a:lnTo>
                    <a:close/>
                    <a:moveTo>
                      <a:pt x="652040" y="211553"/>
                    </a:moveTo>
                    <a:lnTo>
                      <a:pt x="652040" y="342852"/>
                    </a:lnTo>
                    <a:cubicBezTo>
                      <a:pt x="648509" y="343780"/>
                      <a:pt x="644934" y="344489"/>
                      <a:pt x="641488" y="345801"/>
                    </a:cubicBezTo>
                    <a:lnTo>
                      <a:pt x="508591" y="396359"/>
                    </a:lnTo>
                    <a:lnTo>
                      <a:pt x="508591" y="259370"/>
                    </a:lnTo>
                    <a:lnTo>
                      <a:pt x="652040" y="211553"/>
                    </a:lnTo>
                    <a:close/>
                    <a:moveTo>
                      <a:pt x="638999" y="743208"/>
                    </a:moveTo>
                    <a:lnTo>
                      <a:pt x="508591" y="693594"/>
                    </a:lnTo>
                    <a:lnTo>
                      <a:pt x="508591" y="554959"/>
                    </a:lnTo>
                    <a:lnTo>
                      <a:pt x="638999" y="598431"/>
                    </a:lnTo>
                    <a:lnTo>
                      <a:pt x="638999" y="743208"/>
                    </a:lnTo>
                    <a:close/>
                    <a:moveTo>
                      <a:pt x="678121" y="529000"/>
                    </a:moveTo>
                    <a:lnTo>
                      <a:pt x="530129" y="479670"/>
                    </a:lnTo>
                    <a:lnTo>
                      <a:pt x="688353" y="419474"/>
                    </a:lnTo>
                    <a:lnTo>
                      <a:pt x="837022" y="476033"/>
                    </a:lnTo>
                    <a:lnTo>
                      <a:pt x="678121" y="529000"/>
                    </a:lnTo>
                    <a:close/>
                    <a:moveTo>
                      <a:pt x="860692" y="688634"/>
                    </a:moveTo>
                    <a:lnTo>
                      <a:pt x="717244" y="743211"/>
                    </a:lnTo>
                    <a:lnTo>
                      <a:pt x="717244" y="598431"/>
                    </a:lnTo>
                    <a:lnTo>
                      <a:pt x="860692" y="550613"/>
                    </a:lnTo>
                    <a:lnTo>
                      <a:pt x="860692" y="688634"/>
                    </a:lnTo>
                    <a:close/>
                  </a:path>
                </a:pathLst>
              </a:custGeom>
              <a:solidFill>
                <a:schemeClr val="bg1"/>
              </a:solidFill>
              <a:ln w="1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4" name="grey">
              <a:extLst>
                <a:ext uri="{FF2B5EF4-FFF2-40B4-BE49-F238E27FC236}">
                  <a16:creationId xmlns:a16="http://schemas.microsoft.com/office/drawing/2014/main" id="{449BAFBD-79CD-4989-0F92-7C40B9534408}"/>
                </a:ext>
              </a:extLst>
            </p:cNvPr>
            <p:cNvGrpSpPr/>
            <p:nvPr/>
          </p:nvGrpSpPr>
          <p:grpSpPr>
            <a:xfrm>
              <a:off x="2899864" y="1773538"/>
              <a:ext cx="2017644" cy="3702591"/>
              <a:chOff x="2899864" y="1773538"/>
              <a:chExt cx="2017644" cy="370259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8B4D636-DEDA-E937-709F-141EDEF96228}"/>
                  </a:ext>
                </a:extLst>
              </p:cNvPr>
              <p:cNvSpPr/>
              <p:nvPr/>
            </p:nvSpPr>
            <p:spPr>
              <a:xfrm>
                <a:off x="2901207" y="1781555"/>
                <a:ext cx="2012490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rgbClr val="667888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3C2E527-0887-C764-618B-F4A3A199B2CA}"/>
                  </a:ext>
                </a:extLst>
              </p:cNvPr>
              <p:cNvSpPr/>
              <p:nvPr/>
            </p:nvSpPr>
            <p:spPr>
              <a:xfrm>
                <a:off x="2899864" y="1773538"/>
                <a:ext cx="2017644" cy="2156791"/>
              </a:xfrm>
              <a:prstGeom prst="rect">
                <a:avLst/>
              </a:prstGeom>
              <a:solidFill>
                <a:srgbClr val="667888"/>
              </a:solidFill>
              <a:ln>
                <a:solidFill>
                  <a:srgbClr val="6678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  <p:grpSp>
          <p:nvGrpSpPr>
            <p:cNvPr id="15" name="navy">
              <a:extLst>
                <a:ext uri="{FF2B5EF4-FFF2-40B4-BE49-F238E27FC236}">
                  <a16:creationId xmlns:a16="http://schemas.microsoft.com/office/drawing/2014/main" id="{02792226-20FD-1DC7-3843-2905C67D58F5}"/>
                </a:ext>
              </a:extLst>
            </p:cNvPr>
            <p:cNvGrpSpPr/>
            <p:nvPr/>
          </p:nvGrpSpPr>
          <p:grpSpPr>
            <a:xfrm>
              <a:off x="757154" y="1773538"/>
              <a:ext cx="2017644" cy="3702591"/>
              <a:chOff x="757154" y="1773538"/>
              <a:chExt cx="2017644" cy="3702591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1E48A32D-9F58-D0F3-5C70-C9C28EAE2FE6}"/>
                  </a:ext>
                </a:extLst>
              </p:cNvPr>
              <p:cNvSpPr/>
              <p:nvPr/>
            </p:nvSpPr>
            <p:spPr>
              <a:xfrm>
                <a:off x="758950" y="1781555"/>
                <a:ext cx="2015846" cy="369457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2232000" rIns="180000" rtlCol="0" anchor="t" anchorCtr="0"/>
              <a:lstStyle/>
              <a:p>
                <a:pPr marL="0" indent="0">
                  <a:buClr>
                    <a:schemeClr val="tx2"/>
                  </a:buClr>
                  <a:buFont typeface="Arial" panose="020B0604020202020204" pitchFamily="34" charset="0"/>
                  <a:buNone/>
                </a:pPr>
                <a:endParaRPr lang="en-US" sz="1100">
                  <a:solidFill>
                    <a:schemeClr val="tx2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4713FAC5-A191-78EA-F0A9-4D3E96CC305F}"/>
                  </a:ext>
                </a:extLst>
              </p:cNvPr>
              <p:cNvSpPr/>
              <p:nvPr/>
            </p:nvSpPr>
            <p:spPr>
              <a:xfrm>
                <a:off x="757154" y="1773538"/>
                <a:ext cx="2017644" cy="2156791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296000" bIns="180000" rtlCol="0" anchor="t" anchorCtr="0"/>
              <a:lstStyle/>
              <a:p>
                <a:pPr algn="ctr"/>
                <a:endParaRPr lang="en-US" b="1">
                  <a:latin typeface="Gilroy Bold" pitchFamily="2" charset="77"/>
                </a:endParaRPr>
              </a:p>
            </p:txBody>
          </p:sp>
        </p:grpSp>
      </p:grp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BA09068-21F1-0393-484F-870B7125C63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962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6" name="Picture Placeholder 34">
            <a:extLst>
              <a:ext uri="{FF2B5EF4-FFF2-40B4-BE49-F238E27FC236}">
                <a16:creationId xmlns:a16="http://schemas.microsoft.com/office/drawing/2014/main" id="{422BFF1B-B11A-1393-BFB1-CE8B0EAD08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2508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Picture Placeholder 34">
            <a:extLst>
              <a:ext uri="{FF2B5EF4-FFF2-40B4-BE49-F238E27FC236}">
                <a16:creationId xmlns:a16="http://schemas.microsoft.com/office/drawing/2014/main" id="{97DC366D-4449-876A-F60F-0BA8783AB9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8743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0D03CD74-D598-9D08-6761-1DACAD2B87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40525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9" name="Picture Placeholder 34">
            <a:extLst>
              <a:ext uri="{FF2B5EF4-FFF2-40B4-BE49-F238E27FC236}">
                <a16:creationId xmlns:a16="http://schemas.microsoft.com/office/drawing/2014/main" id="{B04AB626-AD9E-ED3C-C2E2-3BF5A1FCA2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474384" y="1930134"/>
            <a:ext cx="1717244" cy="1063625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A339793-3B6F-68FC-BB57-7F3466979D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10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921BB216-DA44-3E7D-3EF3-2987AE7DAF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27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A6835B62-7630-4965-8149-BBD4B7E031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5637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4A07CC8E-7656-FD36-9E35-C279C2433F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05055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0">
            <a:extLst>
              <a:ext uri="{FF2B5EF4-FFF2-40B4-BE49-F238E27FC236}">
                <a16:creationId xmlns:a16="http://schemas.microsoft.com/office/drawing/2014/main" id="{ECEFE3AC-B664-7328-D7BF-F99711772C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7780" y="2994025"/>
            <a:ext cx="1994850" cy="9318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>
                <a:latin typeface="+mj-lt"/>
              </a:defRPr>
            </a:lvl2pPr>
            <a:lvl3pPr marL="842400" indent="0">
              <a:buNone/>
              <a:defRPr sz="1800">
                <a:latin typeface="+mj-lt"/>
              </a:defRPr>
            </a:lvl3pPr>
            <a:lvl4pPr marL="1299600" indent="0">
              <a:buNone/>
              <a:defRPr sz="1800">
                <a:latin typeface="+mj-lt"/>
              </a:defRPr>
            </a:lvl4pPr>
            <a:lvl5pPr marL="1756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2C534E6-2ADF-7EAD-9032-D27F7FD65E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7764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tx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2F7B0117-0731-F79A-7317-AD49F92893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0445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6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502B17F2-3455-965D-ABAC-69BA7656EC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23546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2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F91223B9-525C-E9A3-95C9-7089B304C5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82749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1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A678B3F4-3DCB-E48C-7BC5-35C972EA5AE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14170" y="3933904"/>
            <a:ext cx="2008460" cy="1534207"/>
          </a:xfrm>
        </p:spPr>
        <p:txBody>
          <a:bodyPr>
            <a:normAutofit/>
          </a:bodyPr>
          <a:lstStyle>
            <a:lvl1pPr marL="171450" indent="-171450" algn="l" defTabSz="914400" rtl="0" eaLnBrk="1" latinLnBrk="0" hangingPunct="1">
              <a:buClr>
                <a:schemeClr val="accent3"/>
              </a:buClr>
              <a:buFont typeface="Arial" panose="020B0604020202020204" pitchFamily="34" charset="0"/>
              <a:buChar char="•"/>
              <a:defRPr lang="en-US"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0A892FD-1418-02EC-C808-1E58D1AE179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1068" y="5554663"/>
            <a:ext cx="10571562" cy="368300"/>
          </a:xfrm>
          <a:solidFill>
            <a:schemeClr val="tx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52">
            <a:extLst>
              <a:ext uri="{FF2B5EF4-FFF2-40B4-BE49-F238E27FC236}">
                <a16:creationId xmlns:a16="http://schemas.microsoft.com/office/drawing/2014/main" id="{B51D7DB3-6688-03D4-4645-CF35E667D29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1068" y="5999163"/>
            <a:ext cx="10571562" cy="3683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>
              <a:buNone/>
              <a:defRPr lang="en-US"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5" name="ideagen logo">
            <a:extLst>
              <a:ext uri="{FF2B5EF4-FFF2-40B4-BE49-F238E27FC236}">
                <a16:creationId xmlns:a16="http://schemas.microsoft.com/office/drawing/2014/main" id="{2390DE35-7DAC-8355-C33A-3E09684D5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6594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av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1327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1068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41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F568C36B-BC88-0A3A-08A7-CDC492089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2776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Navy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DDEC4B9B-7E85-B510-C401-68A0BDAD1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372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F568C36B-BC88-0A3A-08A7-CDC4920892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8853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05ACE9C-7BD0-65C6-5CA6-785326E9EC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1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00" y="2709000"/>
            <a:ext cx="7920000" cy="1440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3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843B53A-74DF-F0D8-6E03-70CD64E8B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745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067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387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2693D373-1FCD-FBB9-E7A0-621B3FEF0F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7739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Picture Placeholder 53">
            <a:extLst>
              <a:ext uri="{FF2B5EF4-FFF2-40B4-BE49-F238E27FC236}">
                <a16:creationId xmlns:a16="http://schemas.microsoft.com/office/drawing/2014/main" id="{A38B50BA-9415-EB93-A145-65E9C96444C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8902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53">
            <a:extLst>
              <a:ext uri="{FF2B5EF4-FFF2-40B4-BE49-F238E27FC236}">
                <a16:creationId xmlns:a16="http://schemas.microsoft.com/office/drawing/2014/main" id="{14D1C163-50F1-0F9F-9B2E-2015D6B216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20065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56B5C3CA-2102-C025-6EB1-EBF70B17AA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739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ACF4891-FE83-97A6-D57E-81B6FEB11B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8902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3C29FDAE-31C7-838F-D30B-A6BB8CCB1F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19750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11F4E1-8955-D6A9-2BCD-9C8E9277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4DF43B4-4DB2-86D7-E3BE-0CC1B1A23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4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FD003721-D2BA-1D3B-539C-24093A339B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402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D617173C-F14F-1A4A-5755-F0B9D4E9F4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3565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7419AF06-9850-4259-D34B-0430ADEC63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4728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DEE36D5-D55F-D1A8-8FA5-009C1346D28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710D9B-2850-7B80-C1D1-D1EC23B58741}"/>
              </a:ext>
            </a:extLst>
          </p:cNvPr>
          <p:cNvSpPr txBox="1">
            <a:spLocks/>
          </p:cNvSpPr>
          <p:nvPr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9F7228-A869-CCF7-385F-0E9BDE1EA1BD}"/>
              </a:ext>
            </a:extLst>
          </p:cNvPr>
          <p:cNvCxnSpPr>
            <a:cxnSpLocks/>
          </p:cNvCxnSpPr>
          <p:nvPr/>
        </p:nvCxnSpPr>
        <p:spPr>
          <a:xfrm flipV="1">
            <a:off x="288000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B1AABF9-B1DB-A04F-5C75-A56F9FADE7A8}"/>
              </a:ext>
            </a:extLst>
          </p:cNvPr>
          <p:cNvCxnSpPr>
            <a:cxnSpLocks/>
          </p:cNvCxnSpPr>
          <p:nvPr/>
        </p:nvCxnSpPr>
        <p:spPr>
          <a:xfrm flipV="1">
            <a:off x="4159163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07E5A69-F4B0-4054-4E69-50683E8E0EC6}"/>
              </a:ext>
            </a:extLst>
          </p:cNvPr>
          <p:cNvCxnSpPr>
            <a:cxnSpLocks/>
          </p:cNvCxnSpPr>
          <p:nvPr/>
        </p:nvCxnSpPr>
        <p:spPr>
          <a:xfrm>
            <a:off x="288000" y="6165850"/>
            <a:ext cx="11613488" cy="0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91F8986-D3C8-3698-8B1D-179D9DCDF9E3}"/>
              </a:ext>
            </a:extLst>
          </p:cNvPr>
          <p:cNvCxnSpPr>
            <a:cxnSpLocks/>
          </p:cNvCxnSpPr>
          <p:nvPr/>
        </p:nvCxnSpPr>
        <p:spPr>
          <a:xfrm flipV="1">
            <a:off x="8030326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7C20E92-A263-A66A-F2EE-FA98E08840F6}"/>
              </a:ext>
            </a:extLst>
          </p:cNvPr>
          <p:cNvCxnSpPr>
            <a:cxnSpLocks/>
          </p:cNvCxnSpPr>
          <p:nvPr/>
        </p:nvCxnSpPr>
        <p:spPr>
          <a:xfrm flipV="1">
            <a:off x="11901488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3DE37B4-BEEA-3F37-03C5-63C3ABB14E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820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ffic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ounded Rectangle 28">
            <a:extLst>
              <a:ext uri="{FF2B5EF4-FFF2-40B4-BE49-F238E27FC236}">
                <a16:creationId xmlns:a16="http://schemas.microsoft.com/office/drawing/2014/main" id="{18817ADA-7BC6-5C28-EBC5-4701475E2C1F}"/>
              </a:ext>
            </a:extLst>
          </p:cNvPr>
          <p:cNvSpPr/>
          <p:nvPr userDrawn="1"/>
        </p:nvSpPr>
        <p:spPr>
          <a:xfrm>
            <a:off x="9722791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2" name="Rounded Rectangle 5">
            <a:extLst>
              <a:ext uri="{FF2B5EF4-FFF2-40B4-BE49-F238E27FC236}">
                <a16:creationId xmlns:a16="http://schemas.microsoft.com/office/drawing/2014/main" id="{74C18CDA-E488-1B1C-A579-D8418AE02AA3}"/>
              </a:ext>
            </a:extLst>
          </p:cNvPr>
          <p:cNvSpPr/>
          <p:nvPr userDrawn="1"/>
        </p:nvSpPr>
        <p:spPr>
          <a:xfrm>
            <a:off x="288000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8" name="Rounded Rectangle 4">
            <a:extLst>
              <a:ext uri="{FF2B5EF4-FFF2-40B4-BE49-F238E27FC236}">
                <a16:creationId xmlns:a16="http://schemas.microsoft.com/office/drawing/2014/main" id="{4DAF0507-E27D-25AD-C0B5-E7280EE9B118}"/>
              </a:ext>
            </a:extLst>
          </p:cNvPr>
          <p:cNvSpPr/>
          <p:nvPr userDrawn="1"/>
        </p:nvSpPr>
        <p:spPr>
          <a:xfrm>
            <a:off x="2646698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24" name="Rounded Rectangle 11">
            <a:extLst>
              <a:ext uri="{FF2B5EF4-FFF2-40B4-BE49-F238E27FC236}">
                <a16:creationId xmlns:a16="http://schemas.microsoft.com/office/drawing/2014/main" id="{93B10600-B637-BB17-7823-30512208FBF4}"/>
              </a:ext>
            </a:extLst>
          </p:cNvPr>
          <p:cNvSpPr/>
          <p:nvPr userDrawn="1"/>
        </p:nvSpPr>
        <p:spPr>
          <a:xfrm>
            <a:off x="5005396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30" name="Rounded Rectangle 27">
            <a:extLst>
              <a:ext uri="{FF2B5EF4-FFF2-40B4-BE49-F238E27FC236}">
                <a16:creationId xmlns:a16="http://schemas.microsoft.com/office/drawing/2014/main" id="{FC9D8FCD-30C9-B8CD-49DF-76AAA18CB1DC}"/>
              </a:ext>
            </a:extLst>
          </p:cNvPr>
          <p:cNvSpPr/>
          <p:nvPr userDrawn="1"/>
        </p:nvSpPr>
        <p:spPr>
          <a:xfrm>
            <a:off x="7364093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B7087A-BA1A-4010-E00A-F8EA8C7A05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7DB997-65E8-23BE-FBBD-2339F7317E30}"/>
              </a:ext>
            </a:extLst>
          </p:cNvPr>
          <p:cNvCxnSpPr>
            <a:cxnSpLocks/>
          </p:cNvCxnSpPr>
          <p:nvPr/>
        </p:nvCxnSpPr>
        <p:spPr>
          <a:xfrm flipH="1">
            <a:off x="412659" y="5590192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BF1C5D-1E7F-3CEB-623A-6BD7A973341B}"/>
              </a:ext>
            </a:extLst>
          </p:cNvPr>
          <p:cNvCxnSpPr>
            <a:cxnSpLocks/>
          </p:cNvCxnSpPr>
          <p:nvPr/>
        </p:nvCxnSpPr>
        <p:spPr>
          <a:xfrm flipH="1">
            <a:off x="2771357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A2529F1-6863-F01B-8413-D76142DBEA6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4E2897D-4175-7C37-6F8C-587BD0F7B28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110607D-F03A-377D-5129-0230461F5D68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BC4C001-E1DA-F615-2000-89BA3CBD776D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B988D5A-DC6B-718D-FA11-BE5849BC8816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5101FEB-B2A0-3488-3A11-2106EDF5AE2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F8B1B01-010D-0EF9-1C27-CD29B0661C55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6958C10-5170-E01B-B2F4-13F08FAF9F0F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79D1935-58DB-D371-6444-407C85E91A1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D01940C-FF02-362A-D5F7-5126FFC4A59E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005BBB-4BE1-2F88-1060-DFACAE33F7FA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E9352D6-91E4-7B2D-6FE5-276805863DB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71E646-6FF7-E313-67D4-1F7E39D2E8F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A52535-5C2B-1AB7-B76C-0B3F5195F778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6421331-F967-E746-A5B9-B4918702FF67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7549F2D-F3BB-C5CF-A63C-8E74F01321D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62" name="Title 61">
            <a:extLst>
              <a:ext uri="{FF2B5EF4-FFF2-40B4-BE49-F238E27FC236}">
                <a16:creationId xmlns:a16="http://schemas.microsoft.com/office/drawing/2014/main" id="{0784817B-518E-BA57-63A8-5378C17FD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3869082-9623-E6B3-D382-E1C9E167C30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05F5E9A-043A-BA2F-0F22-13A637C2713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D974E98-94E5-5272-F8E8-F7D2C0BCACF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C7F73AF-5625-41AA-D8F1-9288B94BBD0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B67A4F9-7241-FE81-0044-1C079BFCAABD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D923CB7-E24E-8EEC-1962-FB26CF864C74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93511A7-F198-7438-113A-A4868BC8129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F1A6B35-F648-CC35-B563-84AB694A29A6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1053DF1D-EB59-468D-6237-F9E8452D42B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B3D94248-FC61-34CA-701E-940EF55CE546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9704AD1-DD37-E676-81F3-33BE131FD8D8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FEF9D54D-72F8-C25F-803D-DA825461104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ED3DC6-A675-7172-B120-011CA5FE1FBB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9330C90-9DC3-3F2C-8DAD-69D41AC9B627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2116F696-487D-34BC-A2A9-0D2D8CAFD4C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DCF9C6AA-845E-1CC5-BCE5-312B29EC593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pic>
        <p:nvPicPr>
          <p:cNvPr id="117" name="Picture 4">
            <a:extLst>
              <a:ext uri="{FF2B5EF4-FFF2-40B4-BE49-F238E27FC236}">
                <a16:creationId xmlns:a16="http://schemas.microsoft.com/office/drawing/2014/main" id="{BADA2607-C00C-E5BF-A3CF-D088B06595D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2659" y="3200251"/>
            <a:ext cx="1929381" cy="1038235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22" name="Picture 2">
            <a:extLst>
              <a:ext uri="{FF2B5EF4-FFF2-40B4-BE49-F238E27FC236}">
                <a16:creationId xmlns:a16="http://schemas.microsoft.com/office/drawing/2014/main" id="{0222B844-5762-0BCB-52B8-81F957FDA1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71357" y="3201539"/>
            <a:ext cx="1929381" cy="1036424"/>
          </a:xfrm>
          <a:prstGeom prst="rect">
            <a:avLst/>
          </a:prstGeom>
          <a:noFill/>
          <a:ln w="38100">
            <a:noFill/>
          </a:ln>
        </p:spPr>
      </p:pic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0874CF-2EB8-60E5-04E7-6B4286038266}"/>
              </a:ext>
            </a:extLst>
          </p:cNvPr>
          <p:cNvCxnSpPr>
            <a:cxnSpLocks/>
          </p:cNvCxnSpPr>
          <p:nvPr userDrawn="1"/>
        </p:nvCxnSpPr>
        <p:spPr>
          <a:xfrm flipH="1">
            <a:off x="5130734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" name="Picture 139">
            <a:extLst>
              <a:ext uri="{FF2B5EF4-FFF2-40B4-BE49-F238E27FC236}">
                <a16:creationId xmlns:a16="http://schemas.microsoft.com/office/drawing/2014/main" id="{5465D191-C740-4DCE-ED90-826A2A9D23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58237" y="3223665"/>
            <a:ext cx="1907807" cy="1066905"/>
          </a:xfrm>
          <a:prstGeom prst="rect">
            <a:avLst/>
          </a:prstGeom>
          <a:noFill/>
          <a:ln w="38100">
            <a:noFill/>
          </a:ln>
        </p:spPr>
      </p:pic>
      <p:grpSp>
        <p:nvGrpSpPr>
          <p:cNvPr id="142" name="Group 141">
            <a:extLst>
              <a:ext uri="{FF2B5EF4-FFF2-40B4-BE49-F238E27FC236}">
                <a16:creationId xmlns:a16="http://schemas.microsoft.com/office/drawing/2014/main" id="{75B1027F-FF36-6B15-5486-36FEBE56DA66}"/>
              </a:ext>
            </a:extLst>
          </p:cNvPr>
          <p:cNvGrpSpPr/>
          <p:nvPr userDrawn="1"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7C29F152-ACD4-6684-D143-22FE30F2120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496D4E3-1308-3642-CA25-4028AEE60273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62398831-A582-0D1F-97C2-2A3046410326}"/>
              </a:ext>
            </a:extLst>
          </p:cNvPr>
          <p:cNvGrpSpPr/>
          <p:nvPr userDrawn="1"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4FEB115-CF4B-5B3B-8035-636755C5AC4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89ABA74-FC6E-E959-404E-B4CCD1439D8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A57897B-0705-FDD6-5D95-ACA5463F56BB}"/>
              </a:ext>
            </a:extLst>
          </p:cNvPr>
          <p:cNvGrpSpPr/>
          <p:nvPr userDrawn="1"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4E233CF2-4D68-5DF6-59A1-794A378E7E63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22F0B9E-DAF5-6B5C-BE33-81FA2D74A47F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C22B6E-5CB2-BFB4-ABD5-FDCC0B8D471C}"/>
              </a:ext>
            </a:extLst>
          </p:cNvPr>
          <p:cNvGrpSpPr/>
          <p:nvPr userDrawn="1"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AA1A64C5-F54F-75C1-13FA-85C99426C00A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752A6CCC-45C0-31C1-5E8E-F3038179C218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AE4B7B0-43D5-2D5A-937C-147177F03E01}"/>
              </a:ext>
            </a:extLst>
          </p:cNvPr>
          <p:cNvGrpSpPr/>
          <p:nvPr userDrawn="1"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B4C07FD9-602C-0647-8399-A72528B9AD7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A39D2826-FBCC-2B30-2CB1-4B55654D1B3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8A1C0037-D604-F3AF-6467-CD60AFF6BF32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DE4FBA64-F179-BC4D-21EB-60194CFFE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5820" y="3201537"/>
            <a:ext cx="1915244" cy="1066171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B8730B82-AEAF-0653-5AC2-16B3871C49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0734" y="3217511"/>
            <a:ext cx="1928023" cy="1065439"/>
          </a:xfrm>
          <a:prstGeom prst="rect">
            <a:avLst/>
          </a:prstGeom>
          <a:noFill/>
          <a:ln w="38100">
            <a:noFill/>
          </a:ln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8E943BF7-8BAB-AE76-8CED-5FA93D3C4F13}"/>
              </a:ext>
            </a:extLst>
          </p:cNvPr>
          <p:cNvSpPr txBox="1"/>
          <p:nvPr userDrawn="1"/>
        </p:nvSpPr>
        <p:spPr>
          <a:xfrm>
            <a:off x="5233665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Pari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1F799E66-6279-972B-3B84-232875F4515B}"/>
              </a:ext>
            </a:extLst>
          </p:cNvPr>
          <p:cNvSpPr txBox="1"/>
          <p:nvPr userDrawn="1"/>
        </p:nvSpPr>
        <p:spPr>
          <a:xfrm>
            <a:off x="5236522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c/o Welkin &amp; Meraki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Paris Faubour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37-39 Rue de </a:t>
            </a:r>
            <a:r>
              <a:rPr lang="en-GB" sz="1051" err="1">
                <a:solidFill>
                  <a:schemeClr val="bg1"/>
                </a:solidFill>
                <a:latin typeface="+mn-lt"/>
                <a:cs typeface="Arial"/>
              </a:rPr>
              <a:t>Surène</a:t>
            </a: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75008 Paris Fran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8501DB6-FA27-1711-9088-08D84C3D124C}"/>
              </a:ext>
            </a:extLst>
          </p:cNvPr>
          <p:cNvSpPr txBox="1"/>
          <p:nvPr userDrawn="1"/>
        </p:nvSpPr>
        <p:spPr>
          <a:xfrm>
            <a:off x="5233590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CF7BFF14-6096-06BE-A82B-BDA178443B70}"/>
              </a:ext>
            </a:extLst>
          </p:cNvPr>
          <p:cNvSpPr txBox="1"/>
          <p:nvPr userDrawn="1"/>
        </p:nvSpPr>
        <p:spPr>
          <a:xfrm>
            <a:off x="2771357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Munich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4167678A-CED1-CBC6-1322-4A84FA1E6301}"/>
              </a:ext>
            </a:extLst>
          </p:cNvPr>
          <p:cNvSpPr txBox="1"/>
          <p:nvPr userDrawn="1"/>
        </p:nvSpPr>
        <p:spPr>
          <a:xfrm>
            <a:off x="2771357" y="4842264"/>
            <a:ext cx="1881848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Advisory GmbH &amp; Co. K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alvatorstraße 3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Munich 80333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German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7573F95-AE48-26BB-C546-4A419F323239}"/>
              </a:ext>
            </a:extLst>
          </p:cNvPr>
          <p:cNvSpPr txBox="1"/>
          <p:nvPr userDrawn="1"/>
        </p:nvSpPr>
        <p:spPr>
          <a:xfrm>
            <a:off x="2771357" y="5719629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9 (0)89 255 49 55-0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EFCA1DC-B872-36D8-70B7-AAD6A2933F5A}"/>
              </a:ext>
            </a:extLst>
          </p:cNvPr>
          <p:cNvSpPr txBox="1"/>
          <p:nvPr userDrawn="1"/>
        </p:nvSpPr>
        <p:spPr>
          <a:xfrm>
            <a:off x="412659" y="4452789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London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E266A4-6015-06B8-AF4F-ED7D282F1DE7}"/>
              </a:ext>
            </a:extLst>
          </p:cNvPr>
          <p:cNvSpPr txBox="1"/>
          <p:nvPr userDrawn="1"/>
        </p:nvSpPr>
        <p:spPr>
          <a:xfrm>
            <a:off x="412659" y="4832836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2 More London Riversid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London SE1 2AP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K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6E881B44-92FC-2B9C-52F9-E631698D8BE3}"/>
              </a:ext>
            </a:extLst>
          </p:cNvPr>
          <p:cNvSpPr txBox="1"/>
          <p:nvPr userDrawn="1"/>
        </p:nvSpPr>
        <p:spPr>
          <a:xfrm>
            <a:off x="412659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4 (0)20 7089 7888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E587856-8C8F-7698-2564-6B5BEF278681}"/>
              </a:ext>
            </a:extLst>
          </p:cNvPr>
          <p:cNvCxnSpPr>
            <a:cxnSpLocks/>
          </p:cNvCxnSpPr>
          <p:nvPr userDrawn="1"/>
        </p:nvCxnSpPr>
        <p:spPr>
          <a:xfrm flipH="1">
            <a:off x="748864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BD53A5A2-BB91-7B87-1BB8-AC9936104484}"/>
              </a:ext>
            </a:extLst>
          </p:cNvPr>
          <p:cNvSpPr txBox="1"/>
          <p:nvPr userDrawn="1"/>
        </p:nvSpPr>
        <p:spPr>
          <a:xfrm>
            <a:off x="7536193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New York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9C0D77A4-3976-94AF-BA2D-17B728405956}"/>
              </a:ext>
            </a:extLst>
          </p:cNvPr>
          <p:cNvSpPr txBox="1"/>
          <p:nvPr userDrawn="1"/>
        </p:nvSpPr>
        <p:spPr>
          <a:xfrm>
            <a:off x="75361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(US) Inc.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601 Lexington Avenu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New York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SA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175B2129-4F54-7ACA-C87B-102A226E116A}"/>
              </a:ext>
            </a:extLst>
          </p:cNvPr>
          <p:cNvSpPr txBox="1"/>
          <p:nvPr userDrawn="1"/>
        </p:nvSpPr>
        <p:spPr>
          <a:xfrm>
            <a:off x="75361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1 347-966-8824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216225C-9041-3FA8-67A5-5AD0313AF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978649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4FD7FE0A-7259-1652-605D-D5ECE27A3F12}"/>
              </a:ext>
            </a:extLst>
          </p:cNvPr>
          <p:cNvSpPr txBox="1"/>
          <p:nvPr userDrawn="1"/>
        </p:nvSpPr>
        <p:spPr>
          <a:xfrm>
            <a:off x="9767600" y="4462216"/>
            <a:ext cx="18452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San Francisco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6947B391-C7B8-48DF-4044-19E894874551}"/>
              </a:ext>
            </a:extLst>
          </p:cNvPr>
          <p:cNvSpPr txBox="1"/>
          <p:nvPr userDrawn="1"/>
        </p:nvSpPr>
        <p:spPr>
          <a:xfrm>
            <a:off x="97864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quad 1010, 595 Market Street, San Francisco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CA 94105 USA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89B24A7-E044-B178-4910-785D54AB9EA8}"/>
              </a:ext>
            </a:extLst>
          </p:cNvPr>
          <p:cNvSpPr txBox="1"/>
          <p:nvPr userDrawn="1"/>
        </p:nvSpPr>
        <p:spPr>
          <a:xfrm>
            <a:off x="97864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488BC15-49C8-2CB3-934A-8C70CE48624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07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556D595-0A07-A123-AC3A-532B5F92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874632"/>
            <a:ext cx="10829085" cy="716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863ECF-DE5E-06C0-B82E-DE3A87FAAB73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62BE3D2-49F1-A05E-C201-77C77E9B7B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94965D-1D9C-E760-8441-04AD55691B99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2FEBA4C-981C-DC6C-DF44-90148219F344}"/>
              </a:ext>
            </a:extLst>
          </p:cNvPr>
          <p:cNvSpPr txBox="1"/>
          <p:nvPr userDrawn="1"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35E4E94-7D4E-8815-A165-7E0E1B7093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924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3590925"/>
            <a:ext cx="7560000" cy="1464525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8000" y="5524500"/>
            <a:ext cx="7560000" cy="64135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20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4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B3B5EAD-1349-517B-263F-8B9EE0DF6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2939703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059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00" y="2709000"/>
            <a:ext cx="7920000" cy="1440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3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843B53A-74DF-F0D8-6E03-70CD64E8B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1717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35339"/>
            <a:ext cx="3626304" cy="71629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9C778642-8996-B6E8-6223-440064588BA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4" name="Enable Layout Protection" hidden="1">
            <a:extLst>
              <a:ext uri="{FF2B5EF4-FFF2-40B4-BE49-F238E27FC236}">
                <a16:creationId xmlns:a16="http://schemas.microsoft.com/office/drawing/2014/main" id="{B45016CC-95C4-0D2B-FFB2-90AB84DD31C3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963FDA-538A-9202-A09E-7E527F929F91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15750B2-C1F6-AEC7-9F80-2E3EEE76BE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6316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82FFCAD8-AB9B-750F-1540-FDFD2E57B0E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E89D3369-138A-5511-AB0F-5F69B452CD9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0498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1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5C015AD7-DB6B-DB40-BA86-FE551982DB2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87E8BA99-900D-286E-7EAB-856E76A3556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461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35339"/>
            <a:ext cx="3626304" cy="71629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9C778642-8996-B6E8-6223-440064588BA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4" name="Enable Layout Protection" hidden="1">
            <a:extLst>
              <a:ext uri="{FF2B5EF4-FFF2-40B4-BE49-F238E27FC236}">
                <a16:creationId xmlns:a16="http://schemas.microsoft.com/office/drawing/2014/main" id="{B45016CC-95C4-0D2B-FFB2-90AB84DD31C3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963FDA-538A-9202-A09E-7E527F929F91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15750B2-C1F6-AEC7-9F80-2E3EEE76BE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604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EC88D22-BF1F-9356-0AFE-B2B82A7D80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5968037-1097-127B-1E09-1475BDEC7BD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79CEEE00-BA43-D2D2-4883-965835348AA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83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7234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53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34554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D873717-C33E-37EE-6057-04FAEA8838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2641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DCB9A8E-38D3-5E32-9206-9E8C77A9CD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4831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0250E6-DAD5-B960-4E6A-D0E33A3DF438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890C339-1906-EB5B-12C4-751D066741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4671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1F17272-9824-4218-50BF-E25F7E24FA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719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6CE23B1-3AE3-3C04-800A-04AAEC4EEE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8193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3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64CA3426-7F2A-E891-BED8-EDB05B386F6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D1C7717D-96A1-5559-CEE9-143568A3F28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BB770B-3EDF-644A-7114-1B9536E890E0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7F9DFD1-A024-7B01-D56C-50052D2E81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066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82FFCAD8-AB9B-750F-1540-FDFD2E57B0E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E89D3369-138A-5511-AB0F-5F69B452CD9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9321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1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28082"/>
            <a:ext cx="5688013" cy="71629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EBD6D6F-D9B3-72F2-AF2E-899A969E6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2429623"/>
            <a:ext cx="5688013" cy="215444"/>
          </a:xfrm>
        </p:spPr>
        <p:txBody>
          <a:bodyPr wrap="square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D4720AED-5B7D-B6B7-6897-A0443F92A73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9DDBEB2D-EFEA-CEE5-E66D-BE2B7C922C9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23D3BA-E67B-BE3C-90AA-591D066DF507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7122B6F-4988-64DB-2064-99B7AE01D0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279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CB69E553-975D-3C94-B960-AFB3D7F9B9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4F0F67D4-BF9D-5EC0-B3B9-142C70418D3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7A11D0-C387-E1DD-80EF-270102EBE585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B06ACF0-D086-2A0F-FF23-B7AAA26238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8310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303D24C-8F91-E76F-96B7-678DB8680E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4721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05ACE9C-7BD0-65C6-5CA6-785326E9EC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213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7985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4499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2693D373-1FCD-FBB9-E7A0-621B3FEF0F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7739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Picture Placeholder 53">
            <a:extLst>
              <a:ext uri="{FF2B5EF4-FFF2-40B4-BE49-F238E27FC236}">
                <a16:creationId xmlns:a16="http://schemas.microsoft.com/office/drawing/2014/main" id="{A38B50BA-9415-EB93-A145-65E9C96444C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8902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53">
            <a:extLst>
              <a:ext uri="{FF2B5EF4-FFF2-40B4-BE49-F238E27FC236}">
                <a16:creationId xmlns:a16="http://schemas.microsoft.com/office/drawing/2014/main" id="{14D1C163-50F1-0F9F-9B2E-2015D6B216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20065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56B5C3CA-2102-C025-6EB1-EBF70B17AA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739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ACF4891-FE83-97A6-D57E-81B6FEB11B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8902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3C29FDAE-31C7-838F-D30B-A6BB8CCB1F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19750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11F4E1-8955-D6A9-2BCD-9C8E9277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4DF43B4-4DB2-86D7-E3BE-0CC1B1A23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4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FD003721-D2BA-1D3B-539C-24093A339B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402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D617173C-F14F-1A4A-5755-F0B9D4E9F4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3565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7419AF06-9850-4259-D34B-0430ADEC63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4728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DEE36D5-D55F-D1A8-8FA5-009C1346D28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710D9B-2850-7B80-C1D1-D1EC23B58741}"/>
              </a:ext>
            </a:extLst>
          </p:cNvPr>
          <p:cNvSpPr txBox="1">
            <a:spLocks/>
          </p:cNvSpPr>
          <p:nvPr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9F7228-A869-CCF7-385F-0E9BDE1EA1BD}"/>
              </a:ext>
            </a:extLst>
          </p:cNvPr>
          <p:cNvCxnSpPr>
            <a:cxnSpLocks/>
          </p:cNvCxnSpPr>
          <p:nvPr/>
        </p:nvCxnSpPr>
        <p:spPr>
          <a:xfrm flipV="1">
            <a:off x="288000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B1AABF9-B1DB-A04F-5C75-A56F9FADE7A8}"/>
              </a:ext>
            </a:extLst>
          </p:cNvPr>
          <p:cNvCxnSpPr>
            <a:cxnSpLocks/>
          </p:cNvCxnSpPr>
          <p:nvPr/>
        </p:nvCxnSpPr>
        <p:spPr>
          <a:xfrm flipV="1">
            <a:off x="4159163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07E5A69-F4B0-4054-4E69-50683E8E0EC6}"/>
              </a:ext>
            </a:extLst>
          </p:cNvPr>
          <p:cNvCxnSpPr>
            <a:cxnSpLocks/>
          </p:cNvCxnSpPr>
          <p:nvPr/>
        </p:nvCxnSpPr>
        <p:spPr>
          <a:xfrm>
            <a:off x="288000" y="6165850"/>
            <a:ext cx="11613488" cy="0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91F8986-D3C8-3698-8B1D-179D9DCDF9E3}"/>
              </a:ext>
            </a:extLst>
          </p:cNvPr>
          <p:cNvCxnSpPr>
            <a:cxnSpLocks/>
          </p:cNvCxnSpPr>
          <p:nvPr/>
        </p:nvCxnSpPr>
        <p:spPr>
          <a:xfrm flipV="1">
            <a:off x="8030326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7C20E92-A263-A66A-F2EE-FA98E08840F6}"/>
              </a:ext>
            </a:extLst>
          </p:cNvPr>
          <p:cNvCxnSpPr>
            <a:cxnSpLocks/>
          </p:cNvCxnSpPr>
          <p:nvPr/>
        </p:nvCxnSpPr>
        <p:spPr>
          <a:xfrm flipV="1">
            <a:off x="11901488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3DE37B4-BEEA-3F37-03C5-63C3ABB14E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7726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ffic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ounded Rectangle 28">
            <a:extLst>
              <a:ext uri="{FF2B5EF4-FFF2-40B4-BE49-F238E27FC236}">
                <a16:creationId xmlns:a16="http://schemas.microsoft.com/office/drawing/2014/main" id="{18817ADA-7BC6-5C28-EBC5-4701475E2C1F}"/>
              </a:ext>
            </a:extLst>
          </p:cNvPr>
          <p:cNvSpPr/>
          <p:nvPr userDrawn="1"/>
        </p:nvSpPr>
        <p:spPr>
          <a:xfrm>
            <a:off x="9722791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2" name="Rounded Rectangle 5">
            <a:extLst>
              <a:ext uri="{FF2B5EF4-FFF2-40B4-BE49-F238E27FC236}">
                <a16:creationId xmlns:a16="http://schemas.microsoft.com/office/drawing/2014/main" id="{74C18CDA-E488-1B1C-A579-D8418AE02AA3}"/>
              </a:ext>
            </a:extLst>
          </p:cNvPr>
          <p:cNvSpPr/>
          <p:nvPr userDrawn="1"/>
        </p:nvSpPr>
        <p:spPr>
          <a:xfrm>
            <a:off x="288000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8" name="Rounded Rectangle 4">
            <a:extLst>
              <a:ext uri="{FF2B5EF4-FFF2-40B4-BE49-F238E27FC236}">
                <a16:creationId xmlns:a16="http://schemas.microsoft.com/office/drawing/2014/main" id="{4DAF0507-E27D-25AD-C0B5-E7280EE9B118}"/>
              </a:ext>
            </a:extLst>
          </p:cNvPr>
          <p:cNvSpPr/>
          <p:nvPr userDrawn="1"/>
        </p:nvSpPr>
        <p:spPr>
          <a:xfrm>
            <a:off x="2646698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24" name="Rounded Rectangle 11">
            <a:extLst>
              <a:ext uri="{FF2B5EF4-FFF2-40B4-BE49-F238E27FC236}">
                <a16:creationId xmlns:a16="http://schemas.microsoft.com/office/drawing/2014/main" id="{93B10600-B637-BB17-7823-30512208FBF4}"/>
              </a:ext>
            </a:extLst>
          </p:cNvPr>
          <p:cNvSpPr/>
          <p:nvPr userDrawn="1"/>
        </p:nvSpPr>
        <p:spPr>
          <a:xfrm>
            <a:off x="5005396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30" name="Rounded Rectangle 27">
            <a:extLst>
              <a:ext uri="{FF2B5EF4-FFF2-40B4-BE49-F238E27FC236}">
                <a16:creationId xmlns:a16="http://schemas.microsoft.com/office/drawing/2014/main" id="{FC9D8FCD-30C9-B8CD-49DF-76AAA18CB1DC}"/>
              </a:ext>
            </a:extLst>
          </p:cNvPr>
          <p:cNvSpPr/>
          <p:nvPr userDrawn="1"/>
        </p:nvSpPr>
        <p:spPr>
          <a:xfrm>
            <a:off x="7364093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B7087A-BA1A-4010-E00A-F8EA8C7A05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7DB997-65E8-23BE-FBBD-2339F7317E30}"/>
              </a:ext>
            </a:extLst>
          </p:cNvPr>
          <p:cNvCxnSpPr>
            <a:cxnSpLocks/>
          </p:cNvCxnSpPr>
          <p:nvPr/>
        </p:nvCxnSpPr>
        <p:spPr>
          <a:xfrm flipH="1">
            <a:off x="412659" y="5590192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BF1C5D-1E7F-3CEB-623A-6BD7A973341B}"/>
              </a:ext>
            </a:extLst>
          </p:cNvPr>
          <p:cNvCxnSpPr>
            <a:cxnSpLocks/>
          </p:cNvCxnSpPr>
          <p:nvPr/>
        </p:nvCxnSpPr>
        <p:spPr>
          <a:xfrm flipH="1">
            <a:off x="2771357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A2529F1-6863-F01B-8413-D76142DBEA6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4E2897D-4175-7C37-6F8C-587BD0F7B28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110607D-F03A-377D-5129-0230461F5D68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BC4C001-E1DA-F615-2000-89BA3CBD776D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B988D5A-DC6B-718D-FA11-BE5849BC8816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5101FEB-B2A0-3488-3A11-2106EDF5AE2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F8B1B01-010D-0EF9-1C27-CD29B0661C55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6958C10-5170-E01B-B2F4-13F08FAF9F0F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79D1935-58DB-D371-6444-407C85E91A1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D01940C-FF02-362A-D5F7-5126FFC4A59E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005BBB-4BE1-2F88-1060-DFACAE33F7FA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E9352D6-91E4-7B2D-6FE5-276805863DB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71E646-6FF7-E313-67D4-1F7E39D2E8F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A52535-5C2B-1AB7-B76C-0B3F5195F778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6421331-F967-E746-A5B9-B4918702FF67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7549F2D-F3BB-C5CF-A63C-8E74F01321D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62" name="Title 61">
            <a:extLst>
              <a:ext uri="{FF2B5EF4-FFF2-40B4-BE49-F238E27FC236}">
                <a16:creationId xmlns:a16="http://schemas.microsoft.com/office/drawing/2014/main" id="{0784817B-518E-BA57-63A8-5378C17FD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3869082-9623-E6B3-D382-E1C9E167C30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05F5E9A-043A-BA2F-0F22-13A637C2713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D974E98-94E5-5272-F8E8-F7D2C0BCACF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C7F73AF-5625-41AA-D8F1-9288B94BBD0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B67A4F9-7241-FE81-0044-1C079BFCAABD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D923CB7-E24E-8EEC-1962-FB26CF864C74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93511A7-F198-7438-113A-A4868BC8129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F1A6B35-F648-CC35-B563-84AB694A29A6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1053DF1D-EB59-468D-6237-F9E8452D42B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B3D94248-FC61-34CA-701E-940EF55CE546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9704AD1-DD37-E676-81F3-33BE131FD8D8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FEF9D54D-72F8-C25F-803D-DA825461104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ED3DC6-A675-7172-B120-011CA5FE1FBB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9330C90-9DC3-3F2C-8DAD-69D41AC9B627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2116F696-487D-34BC-A2A9-0D2D8CAFD4C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DCF9C6AA-845E-1CC5-BCE5-312B29EC593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pic>
        <p:nvPicPr>
          <p:cNvPr id="117" name="Picture 4">
            <a:extLst>
              <a:ext uri="{FF2B5EF4-FFF2-40B4-BE49-F238E27FC236}">
                <a16:creationId xmlns:a16="http://schemas.microsoft.com/office/drawing/2014/main" id="{BADA2607-C00C-E5BF-A3CF-D088B06595D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2659" y="3200251"/>
            <a:ext cx="1929381" cy="1038235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22" name="Picture 2">
            <a:extLst>
              <a:ext uri="{FF2B5EF4-FFF2-40B4-BE49-F238E27FC236}">
                <a16:creationId xmlns:a16="http://schemas.microsoft.com/office/drawing/2014/main" id="{0222B844-5762-0BCB-52B8-81F957FDA1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71357" y="3201539"/>
            <a:ext cx="1929381" cy="1036424"/>
          </a:xfrm>
          <a:prstGeom prst="rect">
            <a:avLst/>
          </a:prstGeom>
          <a:noFill/>
          <a:ln w="38100">
            <a:noFill/>
          </a:ln>
        </p:spPr>
      </p:pic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0874CF-2EB8-60E5-04E7-6B4286038266}"/>
              </a:ext>
            </a:extLst>
          </p:cNvPr>
          <p:cNvCxnSpPr>
            <a:cxnSpLocks/>
          </p:cNvCxnSpPr>
          <p:nvPr userDrawn="1"/>
        </p:nvCxnSpPr>
        <p:spPr>
          <a:xfrm flipH="1">
            <a:off x="5130734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" name="Picture 139">
            <a:extLst>
              <a:ext uri="{FF2B5EF4-FFF2-40B4-BE49-F238E27FC236}">
                <a16:creationId xmlns:a16="http://schemas.microsoft.com/office/drawing/2014/main" id="{5465D191-C740-4DCE-ED90-826A2A9D23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58237" y="3223665"/>
            <a:ext cx="1907807" cy="1066905"/>
          </a:xfrm>
          <a:prstGeom prst="rect">
            <a:avLst/>
          </a:prstGeom>
          <a:noFill/>
          <a:ln w="38100">
            <a:noFill/>
          </a:ln>
        </p:spPr>
      </p:pic>
      <p:grpSp>
        <p:nvGrpSpPr>
          <p:cNvPr id="142" name="Group 141">
            <a:extLst>
              <a:ext uri="{FF2B5EF4-FFF2-40B4-BE49-F238E27FC236}">
                <a16:creationId xmlns:a16="http://schemas.microsoft.com/office/drawing/2014/main" id="{75B1027F-FF36-6B15-5486-36FEBE56DA66}"/>
              </a:ext>
            </a:extLst>
          </p:cNvPr>
          <p:cNvGrpSpPr/>
          <p:nvPr userDrawn="1"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7C29F152-ACD4-6684-D143-22FE30F2120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496D4E3-1308-3642-CA25-4028AEE60273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62398831-A582-0D1F-97C2-2A3046410326}"/>
              </a:ext>
            </a:extLst>
          </p:cNvPr>
          <p:cNvGrpSpPr/>
          <p:nvPr userDrawn="1"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4FEB115-CF4B-5B3B-8035-636755C5AC4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89ABA74-FC6E-E959-404E-B4CCD1439D8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A57897B-0705-FDD6-5D95-ACA5463F56BB}"/>
              </a:ext>
            </a:extLst>
          </p:cNvPr>
          <p:cNvGrpSpPr/>
          <p:nvPr userDrawn="1"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4E233CF2-4D68-5DF6-59A1-794A378E7E63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22F0B9E-DAF5-6B5C-BE33-81FA2D74A47F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C22B6E-5CB2-BFB4-ABD5-FDCC0B8D471C}"/>
              </a:ext>
            </a:extLst>
          </p:cNvPr>
          <p:cNvGrpSpPr/>
          <p:nvPr userDrawn="1"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AA1A64C5-F54F-75C1-13FA-85C99426C00A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752A6CCC-45C0-31C1-5E8E-F3038179C218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AE4B7B0-43D5-2D5A-937C-147177F03E01}"/>
              </a:ext>
            </a:extLst>
          </p:cNvPr>
          <p:cNvGrpSpPr/>
          <p:nvPr userDrawn="1"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B4C07FD9-602C-0647-8399-A72528B9AD7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A39D2826-FBCC-2B30-2CB1-4B55654D1B3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8A1C0037-D604-F3AF-6467-CD60AFF6BF32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DE4FBA64-F179-BC4D-21EB-60194CFFE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5820" y="3201537"/>
            <a:ext cx="1915244" cy="1066171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B8730B82-AEAF-0653-5AC2-16B3871C49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0734" y="3217511"/>
            <a:ext cx="1928023" cy="1065439"/>
          </a:xfrm>
          <a:prstGeom prst="rect">
            <a:avLst/>
          </a:prstGeom>
          <a:noFill/>
          <a:ln w="38100">
            <a:noFill/>
          </a:ln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8E943BF7-8BAB-AE76-8CED-5FA93D3C4F13}"/>
              </a:ext>
            </a:extLst>
          </p:cNvPr>
          <p:cNvSpPr txBox="1"/>
          <p:nvPr userDrawn="1"/>
        </p:nvSpPr>
        <p:spPr>
          <a:xfrm>
            <a:off x="5233665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Pari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1F799E66-6279-972B-3B84-232875F4515B}"/>
              </a:ext>
            </a:extLst>
          </p:cNvPr>
          <p:cNvSpPr txBox="1"/>
          <p:nvPr userDrawn="1"/>
        </p:nvSpPr>
        <p:spPr>
          <a:xfrm>
            <a:off x="5236522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c/o Welkin &amp; Meraki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Paris Faubour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37-39 Rue de Surène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75008 Paris Fran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8501DB6-FA27-1711-9088-08D84C3D124C}"/>
              </a:ext>
            </a:extLst>
          </p:cNvPr>
          <p:cNvSpPr txBox="1"/>
          <p:nvPr userDrawn="1"/>
        </p:nvSpPr>
        <p:spPr>
          <a:xfrm>
            <a:off x="5233590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CF7BFF14-6096-06BE-A82B-BDA178443B70}"/>
              </a:ext>
            </a:extLst>
          </p:cNvPr>
          <p:cNvSpPr txBox="1"/>
          <p:nvPr userDrawn="1"/>
        </p:nvSpPr>
        <p:spPr>
          <a:xfrm>
            <a:off x="2771357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Munich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4167678A-CED1-CBC6-1322-4A84FA1E6301}"/>
              </a:ext>
            </a:extLst>
          </p:cNvPr>
          <p:cNvSpPr txBox="1"/>
          <p:nvPr userDrawn="1"/>
        </p:nvSpPr>
        <p:spPr>
          <a:xfrm>
            <a:off x="2771357" y="4842264"/>
            <a:ext cx="1881848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Advisory GmbH &amp; Co. K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alvatorstraße 3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Munich 80333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German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7573F95-AE48-26BB-C546-4A419F323239}"/>
              </a:ext>
            </a:extLst>
          </p:cNvPr>
          <p:cNvSpPr txBox="1"/>
          <p:nvPr userDrawn="1"/>
        </p:nvSpPr>
        <p:spPr>
          <a:xfrm>
            <a:off x="2771357" y="5719629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9 (0)89 255 49 55-0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EFCA1DC-B872-36D8-70B7-AAD6A2933F5A}"/>
              </a:ext>
            </a:extLst>
          </p:cNvPr>
          <p:cNvSpPr txBox="1"/>
          <p:nvPr userDrawn="1"/>
        </p:nvSpPr>
        <p:spPr>
          <a:xfrm>
            <a:off x="412659" y="4452789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London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E266A4-6015-06B8-AF4F-ED7D282F1DE7}"/>
              </a:ext>
            </a:extLst>
          </p:cNvPr>
          <p:cNvSpPr txBox="1"/>
          <p:nvPr userDrawn="1"/>
        </p:nvSpPr>
        <p:spPr>
          <a:xfrm>
            <a:off x="412659" y="4832836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2 More London Riversid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London SE1 2AP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K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6E881B44-92FC-2B9C-52F9-E631698D8BE3}"/>
              </a:ext>
            </a:extLst>
          </p:cNvPr>
          <p:cNvSpPr txBox="1"/>
          <p:nvPr userDrawn="1"/>
        </p:nvSpPr>
        <p:spPr>
          <a:xfrm>
            <a:off x="412659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4 (0)20 7089 7888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E587856-8C8F-7698-2564-6B5BEF278681}"/>
              </a:ext>
            </a:extLst>
          </p:cNvPr>
          <p:cNvCxnSpPr>
            <a:cxnSpLocks/>
          </p:cNvCxnSpPr>
          <p:nvPr userDrawn="1"/>
        </p:nvCxnSpPr>
        <p:spPr>
          <a:xfrm flipH="1">
            <a:off x="748864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BD53A5A2-BB91-7B87-1BB8-AC9936104484}"/>
              </a:ext>
            </a:extLst>
          </p:cNvPr>
          <p:cNvSpPr txBox="1"/>
          <p:nvPr userDrawn="1"/>
        </p:nvSpPr>
        <p:spPr>
          <a:xfrm>
            <a:off x="7536193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New York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9C0D77A4-3976-94AF-BA2D-17B728405956}"/>
              </a:ext>
            </a:extLst>
          </p:cNvPr>
          <p:cNvSpPr txBox="1"/>
          <p:nvPr userDrawn="1"/>
        </p:nvSpPr>
        <p:spPr>
          <a:xfrm>
            <a:off x="75361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(US) Inc.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601 Lexington Avenu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New York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SA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175B2129-4F54-7ACA-C87B-102A226E116A}"/>
              </a:ext>
            </a:extLst>
          </p:cNvPr>
          <p:cNvSpPr txBox="1"/>
          <p:nvPr userDrawn="1"/>
        </p:nvSpPr>
        <p:spPr>
          <a:xfrm>
            <a:off x="75361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1 347-966-8824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216225C-9041-3FA8-67A5-5AD0313AF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978649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4FD7FE0A-7259-1652-605D-D5ECE27A3F12}"/>
              </a:ext>
            </a:extLst>
          </p:cNvPr>
          <p:cNvSpPr txBox="1"/>
          <p:nvPr userDrawn="1"/>
        </p:nvSpPr>
        <p:spPr>
          <a:xfrm>
            <a:off x="9767600" y="4462216"/>
            <a:ext cx="18452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San Francisco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6947B391-C7B8-48DF-4044-19E894874551}"/>
              </a:ext>
            </a:extLst>
          </p:cNvPr>
          <p:cNvSpPr txBox="1"/>
          <p:nvPr userDrawn="1"/>
        </p:nvSpPr>
        <p:spPr>
          <a:xfrm>
            <a:off x="97864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quad 1010, 595 Market Street, San Francisco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CA 94105 USA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89B24A7-E044-B178-4910-785D54AB9EA8}"/>
              </a:ext>
            </a:extLst>
          </p:cNvPr>
          <p:cNvSpPr txBox="1"/>
          <p:nvPr userDrawn="1"/>
        </p:nvSpPr>
        <p:spPr>
          <a:xfrm>
            <a:off x="97864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488BC15-49C8-2CB3-934A-8C70CE48624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2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556D595-0A07-A123-AC3A-532B5F92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874632"/>
            <a:ext cx="10829085" cy="716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863ECF-DE5E-06C0-B82E-DE3A87FAAB73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62BE3D2-49F1-A05E-C201-77C77E9B7B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94965D-1D9C-E760-8441-04AD55691B99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2FEBA4C-981C-DC6C-DF44-90148219F344}"/>
              </a:ext>
            </a:extLst>
          </p:cNvPr>
          <p:cNvSpPr txBox="1"/>
          <p:nvPr userDrawn="1"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35E4E94-7D4E-8815-A165-7E0E1B7093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6528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3590925"/>
            <a:ext cx="7560000" cy="1464525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8000" y="5524500"/>
            <a:ext cx="7560000" cy="64135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20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4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B3B5EAD-1349-517B-263F-8B9EE0DF6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2939703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969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1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5C015AD7-DB6B-DB40-BA86-FE551982DB2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87E8BA99-900D-286E-7EAB-856E76A3556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9365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00" y="2709000"/>
            <a:ext cx="7920000" cy="1440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3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843B53A-74DF-F0D8-6E03-70CD64E8B4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112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35339"/>
            <a:ext cx="3626304" cy="71629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9C778642-8996-B6E8-6223-440064588BA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4" name="Enable Layout Protection" hidden="1">
            <a:extLst>
              <a:ext uri="{FF2B5EF4-FFF2-40B4-BE49-F238E27FC236}">
                <a16:creationId xmlns:a16="http://schemas.microsoft.com/office/drawing/2014/main" id="{B45016CC-95C4-0D2B-FFB2-90AB84DD31C3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963FDA-538A-9202-A09E-7E527F929F91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15750B2-C1F6-AEC7-9F80-2E3EEE76BE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716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82FFCAD8-AB9B-750F-1540-FDFD2E57B0E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E89D3369-138A-5511-AB0F-5F69B452CD9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6025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1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5C015AD7-DB6B-DB40-BA86-FE551982DB2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87E8BA99-900D-286E-7EAB-856E76A3556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2553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EC88D22-BF1F-9356-0AFE-B2B82A7D80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5968037-1097-127B-1E09-1475BDEC7BD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79CEEE00-BA43-D2D2-4883-965835348AA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657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802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7671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1931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D873717-C33E-37EE-6057-04FAEA8838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8848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&amp;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DCB9A8E-38D3-5E32-9206-9E8C77A9CD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2546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EC88D22-BF1F-9356-0AFE-B2B82A7D80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5968037-1097-127B-1E09-1475BDEC7BD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79CEEE00-BA43-D2D2-4883-965835348AA8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6172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0250E6-DAD5-B960-4E6A-D0E33A3DF438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890C339-1906-EB5B-12C4-751D066741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895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5EBF35-3C2C-A20B-CC26-60191969CCB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1F17272-9824-4218-50BF-E25F7E24FA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563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&amp;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D49203-9656-6220-7EAE-147E35C1C47A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6CE23B1-3AE3-3C04-800A-04AAEC4EEE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1634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-Grey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3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64CA3426-7F2A-E891-BED8-EDB05B386F6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D1C7717D-96A1-5559-CEE9-143568A3F28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BB770B-3EDF-644A-7114-1B9536E890E0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7F9DFD1-A024-7B01-D56C-50052D2E81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5323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1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1528082"/>
            <a:ext cx="5688013" cy="716293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EBD6D6F-D9B3-72F2-AF2E-899A969E6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2429623"/>
            <a:ext cx="5688013" cy="215444"/>
          </a:xfrm>
        </p:spPr>
        <p:txBody>
          <a:bodyPr wrap="square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D4720AED-5B7D-B6B7-6897-A0443F92A73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9DDBEB2D-EFEA-CEE5-E66D-BE2B7C922C9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23D3BA-E67B-BE3C-90AA-591D066DF507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7122B6F-4988-64DB-2064-99B7AE01D0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7416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itle Only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CB69E553-975D-3C94-B960-AFB3D7F9B9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4F0F67D4-BF9D-5EC0-B3B9-142C70418D3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7A11D0-C387-E1DD-80EF-270102EBE585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B06ACF0-D086-2A0F-FF23-B7AAA26238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9815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303D24C-8F91-E76F-96B7-678DB8680E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9616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 2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3070854"/>
            <a:ext cx="7766378" cy="716293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ZA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512000"/>
            <a:ext cx="7766378" cy="215444"/>
          </a:xfrm>
        </p:spPr>
        <p:txBody>
          <a:bodyPr wrap="square" anchor="b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nable Layout Protection" hidden="1">
            <a:extLst>
              <a:ext uri="{FF2B5EF4-FFF2-40B4-BE49-F238E27FC236}">
                <a16:creationId xmlns:a16="http://schemas.microsoft.com/office/drawing/2014/main" id="{0B76B0CF-C48E-BE09-AAFB-C5481C197310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5" name="Enable Layout Protection" hidden="1">
            <a:extLst>
              <a:ext uri="{FF2B5EF4-FFF2-40B4-BE49-F238E27FC236}">
                <a16:creationId xmlns:a16="http://schemas.microsoft.com/office/drawing/2014/main" id="{F95BC795-C649-2DC0-E515-7C0C948E610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E3D285-A4C1-906D-07DD-942E4A7D8B7F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05ACE9C-7BD0-65C6-5CA6-785326E9EC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9625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019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Enable Layout Protection" hidden="1">
            <a:extLst>
              <a:ext uri="{FF2B5EF4-FFF2-40B4-BE49-F238E27FC236}">
                <a16:creationId xmlns:a16="http://schemas.microsoft.com/office/drawing/2014/main" id="{B2268545-A2F0-073E-92F4-3399B5B69C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159030E3-A1AA-AE42-481C-309C4BFFD76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237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1161348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8AA1FC3-1B70-0FAA-459A-837898394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nable Layout Protection" hidden="1">
            <a:extLst>
              <a:ext uri="{FF2B5EF4-FFF2-40B4-BE49-F238E27FC236}">
                <a16:creationId xmlns:a16="http://schemas.microsoft.com/office/drawing/2014/main" id="{2E112EA6-738A-2877-B313-96EF8FBD94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8" name="Enable Layout Protection" hidden="1">
            <a:extLst>
              <a:ext uri="{FF2B5EF4-FFF2-40B4-BE49-F238E27FC236}">
                <a16:creationId xmlns:a16="http://schemas.microsoft.com/office/drawing/2014/main" id="{B4F3870B-7853-8A3A-DE5C-0335D57ABF9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319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2693D373-1FCD-FBB9-E7A0-621B3FEF0F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7739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Picture Placeholder 53">
            <a:extLst>
              <a:ext uri="{FF2B5EF4-FFF2-40B4-BE49-F238E27FC236}">
                <a16:creationId xmlns:a16="http://schemas.microsoft.com/office/drawing/2014/main" id="{A38B50BA-9415-EB93-A145-65E9C96444C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8902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53">
            <a:extLst>
              <a:ext uri="{FF2B5EF4-FFF2-40B4-BE49-F238E27FC236}">
                <a16:creationId xmlns:a16="http://schemas.microsoft.com/office/drawing/2014/main" id="{14D1C163-50F1-0F9F-9B2E-2015D6B216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20065" y="1535339"/>
            <a:ext cx="3491685" cy="3060000"/>
          </a:xfrm>
          <a:solidFill>
            <a:schemeClr val="accent4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56B5C3CA-2102-C025-6EB1-EBF70B17AA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739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0ACF4891-FE83-97A6-D57E-81B6FEB11B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8902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3C29FDAE-31C7-838F-D30B-A6BB8CCB1F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19750" y="4739339"/>
            <a:ext cx="3492000" cy="1296000"/>
          </a:xfrm>
        </p:spPr>
        <p:txBody>
          <a:bodyPr/>
          <a:lstStyle>
            <a:lvl1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0A953016-157F-4085-BC68-DDB5343E6D7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11F4E1-8955-D6A9-2BCD-9C8E9277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4DF43B4-4DB2-86D7-E3BE-0CC1B1A23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4">
                    <a:lumMod val="10000"/>
                    <a:lumOff val="9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FD003721-D2BA-1D3B-539C-24093A339B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402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D617173C-F14F-1A4A-5755-F0B9D4E9F4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53565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7419AF06-9850-4259-D34B-0430ADEC63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4728" y="3906835"/>
            <a:ext cx="3082358" cy="432000"/>
          </a:xfrm>
          <a:solidFill>
            <a:schemeClr val="accent5">
              <a:alpha val="50000"/>
            </a:schemeClr>
          </a:solidFill>
        </p:spPr>
        <p:txBody>
          <a:bodyPr lIns="90000" tIns="46800" rIns="90000" bIns="46800" anchor="ctr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Last Name, Company</a:t>
            </a:r>
            <a:endParaRPr lang="en-GB"/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8DEE36D5-D55F-D1A8-8FA5-009C1346D28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710D9B-2850-7B80-C1D1-D1EC23B58741}"/>
              </a:ext>
            </a:extLst>
          </p:cNvPr>
          <p:cNvSpPr txBox="1">
            <a:spLocks/>
          </p:cNvSpPr>
          <p:nvPr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9F7228-A869-CCF7-385F-0E9BDE1EA1BD}"/>
              </a:ext>
            </a:extLst>
          </p:cNvPr>
          <p:cNvCxnSpPr>
            <a:cxnSpLocks/>
          </p:cNvCxnSpPr>
          <p:nvPr/>
        </p:nvCxnSpPr>
        <p:spPr>
          <a:xfrm flipV="1">
            <a:off x="288000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B1AABF9-B1DB-A04F-5C75-A56F9FADE7A8}"/>
              </a:ext>
            </a:extLst>
          </p:cNvPr>
          <p:cNvCxnSpPr>
            <a:cxnSpLocks/>
          </p:cNvCxnSpPr>
          <p:nvPr/>
        </p:nvCxnSpPr>
        <p:spPr>
          <a:xfrm flipV="1">
            <a:off x="4159163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07E5A69-F4B0-4054-4E69-50683E8E0EC6}"/>
              </a:ext>
            </a:extLst>
          </p:cNvPr>
          <p:cNvCxnSpPr>
            <a:cxnSpLocks/>
          </p:cNvCxnSpPr>
          <p:nvPr/>
        </p:nvCxnSpPr>
        <p:spPr>
          <a:xfrm>
            <a:off x="288000" y="6165850"/>
            <a:ext cx="11613488" cy="0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91F8986-D3C8-3698-8B1D-179D9DCDF9E3}"/>
              </a:ext>
            </a:extLst>
          </p:cNvPr>
          <p:cNvCxnSpPr>
            <a:cxnSpLocks/>
          </p:cNvCxnSpPr>
          <p:nvPr/>
        </p:nvCxnSpPr>
        <p:spPr>
          <a:xfrm flipV="1">
            <a:off x="8030326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7C20E92-A263-A66A-F2EE-FA98E08840F6}"/>
              </a:ext>
            </a:extLst>
          </p:cNvPr>
          <p:cNvCxnSpPr>
            <a:cxnSpLocks/>
          </p:cNvCxnSpPr>
          <p:nvPr/>
        </p:nvCxnSpPr>
        <p:spPr>
          <a:xfrm flipV="1">
            <a:off x="11901488" y="1529855"/>
            <a:ext cx="0" cy="4635995"/>
          </a:xfrm>
          <a:prstGeom prst="line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3DE37B4-BEEA-3F37-03C5-63C3ABB14ED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718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ffic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ounded Rectangle 28">
            <a:extLst>
              <a:ext uri="{FF2B5EF4-FFF2-40B4-BE49-F238E27FC236}">
                <a16:creationId xmlns:a16="http://schemas.microsoft.com/office/drawing/2014/main" id="{18817ADA-7BC6-5C28-EBC5-4701475E2C1F}"/>
              </a:ext>
            </a:extLst>
          </p:cNvPr>
          <p:cNvSpPr/>
          <p:nvPr userDrawn="1"/>
        </p:nvSpPr>
        <p:spPr>
          <a:xfrm>
            <a:off x="9722791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2" name="Rounded Rectangle 5">
            <a:extLst>
              <a:ext uri="{FF2B5EF4-FFF2-40B4-BE49-F238E27FC236}">
                <a16:creationId xmlns:a16="http://schemas.microsoft.com/office/drawing/2014/main" id="{74C18CDA-E488-1B1C-A579-D8418AE02AA3}"/>
              </a:ext>
            </a:extLst>
          </p:cNvPr>
          <p:cNvSpPr/>
          <p:nvPr userDrawn="1"/>
        </p:nvSpPr>
        <p:spPr>
          <a:xfrm>
            <a:off x="288000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18" name="Rounded Rectangle 4">
            <a:extLst>
              <a:ext uri="{FF2B5EF4-FFF2-40B4-BE49-F238E27FC236}">
                <a16:creationId xmlns:a16="http://schemas.microsoft.com/office/drawing/2014/main" id="{4DAF0507-E27D-25AD-C0B5-E7280EE9B118}"/>
              </a:ext>
            </a:extLst>
          </p:cNvPr>
          <p:cNvSpPr/>
          <p:nvPr userDrawn="1"/>
        </p:nvSpPr>
        <p:spPr>
          <a:xfrm>
            <a:off x="2646698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24" name="Rounded Rectangle 11">
            <a:extLst>
              <a:ext uri="{FF2B5EF4-FFF2-40B4-BE49-F238E27FC236}">
                <a16:creationId xmlns:a16="http://schemas.microsoft.com/office/drawing/2014/main" id="{93B10600-B637-BB17-7823-30512208FBF4}"/>
              </a:ext>
            </a:extLst>
          </p:cNvPr>
          <p:cNvSpPr/>
          <p:nvPr userDrawn="1"/>
        </p:nvSpPr>
        <p:spPr>
          <a:xfrm>
            <a:off x="5005396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130" name="Rounded Rectangle 27">
            <a:extLst>
              <a:ext uri="{FF2B5EF4-FFF2-40B4-BE49-F238E27FC236}">
                <a16:creationId xmlns:a16="http://schemas.microsoft.com/office/drawing/2014/main" id="{FC9D8FCD-30C9-B8CD-49DF-76AAA18CB1DC}"/>
              </a:ext>
            </a:extLst>
          </p:cNvPr>
          <p:cNvSpPr/>
          <p:nvPr userDrawn="1"/>
        </p:nvSpPr>
        <p:spPr>
          <a:xfrm>
            <a:off x="7364093" y="3107269"/>
            <a:ext cx="2178698" cy="3058581"/>
          </a:xfrm>
          <a:prstGeom prst="roundRect">
            <a:avLst>
              <a:gd name="adj" fmla="val 490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>
              <a:latin typeface="+mj-l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B7087A-BA1A-4010-E00A-F8EA8C7A05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7DB997-65E8-23BE-FBBD-2339F7317E30}"/>
              </a:ext>
            </a:extLst>
          </p:cNvPr>
          <p:cNvCxnSpPr>
            <a:cxnSpLocks/>
          </p:cNvCxnSpPr>
          <p:nvPr/>
        </p:nvCxnSpPr>
        <p:spPr>
          <a:xfrm flipH="1">
            <a:off x="412659" y="5590192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BF1C5D-1E7F-3CEB-623A-6BD7A973341B}"/>
              </a:ext>
            </a:extLst>
          </p:cNvPr>
          <p:cNvCxnSpPr>
            <a:cxnSpLocks/>
          </p:cNvCxnSpPr>
          <p:nvPr/>
        </p:nvCxnSpPr>
        <p:spPr>
          <a:xfrm flipH="1">
            <a:off x="2771357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A2529F1-6863-F01B-8413-D76142DBEA6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4E2897D-4175-7C37-6F8C-587BD0F7B28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110607D-F03A-377D-5129-0230461F5D68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BC4C001-E1DA-F615-2000-89BA3CBD776D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B988D5A-DC6B-718D-FA11-BE5849BC8816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5101FEB-B2A0-3488-3A11-2106EDF5AE2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F8B1B01-010D-0EF9-1C27-CD29B0661C55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6958C10-5170-E01B-B2F4-13F08FAF9F0F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79D1935-58DB-D371-6444-407C85E91A1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D01940C-FF02-362A-D5F7-5126FFC4A59E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005BBB-4BE1-2F88-1060-DFACAE33F7FA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E9352D6-91E4-7B2D-6FE5-276805863DB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71E646-6FF7-E313-67D4-1F7E39D2E8F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A52535-5C2B-1AB7-B76C-0B3F5195F778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6421331-F967-E746-A5B9-B4918702FF67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7549F2D-F3BB-C5CF-A63C-8E74F01321D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62" name="Title 61">
            <a:extLst>
              <a:ext uri="{FF2B5EF4-FFF2-40B4-BE49-F238E27FC236}">
                <a16:creationId xmlns:a16="http://schemas.microsoft.com/office/drawing/2014/main" id="{0784817B-518E-BA57-63A8-5378C17FD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3869082-9623-E6B3-D382-E1C9E167C30F}"/>
              </a:ext>
            </a:extLst>
          </p:cNvPr>
          <p:cNvCxnSpPr>
            <a:cxnSpLocks/>
          </p:cNvCxnSpPr>
          <p:nvPr/>
        </p:nvCxnSpPr>
        <p:spPr>
          <a:xfrm flipH="1">
            <a:off x="5214729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05F5E9A-043A-BA2F-0F22-13A637C2713F}"/>
              </a:ext>
            </a:extLst>
          </p:cNvPr>
          <p:cNvGrpSpPr/>
          <p:nvPr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D974E98-94E5-5272-F8E8-F7D2C0BCACF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C7F73AF-5625-41AA-D8F1-9288B94BBD0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B67A4F9-7241-FE81-0044-1C079BFCAABD}"/>
              </a:ext>
            </a:extLst>
          </p:cNvPr>
          <p:cNvGrpSpPr/>
          <p:nvPr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D923CB7-E24E-8EEC-1962-FB26CF864C74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93511A7-F198-7438-113A-A4868BC81297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F1A6B35-F648-CC35-B563-84AB694A29A6}"/>
              </a:ext>
            </a:extLst>
          </p:cNvPr>
          <p:cNvGrpSpPr/>
          <p:nvPr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1053DF1D-EB59-468D-6237-F9E8452D42B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B3D94248-FC61-34CA-701E-940EF55CE546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9704AD1-DD37-E676-81F3-33BE131FD8D8}"/>
              </a:ext>
            </a:extLst>
          </p:cNvPr>
          <p:cNvGrpSpPr/>
          <p:nvPr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FEF9D54D-72F8-C25F-803D-DA8254611041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ED3DC6-A675-7172-B120-011CA5FE1FBB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9330C90-9DC3-3F2C-8DAD-69D41AC9B627}"/>
              </a:ext>
            </a:extLst>
          </p:cNvPr>
          <p:cNvGrpSpPr/>
          <p:nvPr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2116F696-487D-34BC-A2A9-0D2D8CAFD4CC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DCF9C6AA-845E-1CC5-BCE5-312B29EC5930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pic>
        <p:nvPicPr>
          <p:cNvPr id="117" name="Picture 4">
            <a:extLst>
              <a:ext uri="{FF2B5EF4-FFF2-40B4-BE49-F238E27FC236}">
                <a16:creationId xmlns:a16="http://schemas.microsoft.com/office/drawing/2014/main" id="{BADA2607-C00C-E5BF-A3CF-D088B06595D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2659" y="3200251"/>
            <a:ext cx="1929381" cy="1038235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22" name="Picture 2">
            <a:extLst>
              <a:ext uri="{FF2B5EF4-FFF2-40B4-BE49-F238E27FC236}">
                <a16:creationId xmlns:a16="http://schemas.microsoft.com/office/drawing/2014/main" id="{0222B844-5762-0BCB-52B8-81F957FDA1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71357" y="3201539"/>
            <a:ext cx="1929381" cy="1036424"/>
          </a:xfrm>
          <a:prstGeom prst="rect">
            <a:avLst/>
          </a:prstGeom>
          <a:noFill/>
          <a:ln w="38100">
            <a:noFill/>
          </a:ln>
        </p:spPr>
      </p:pic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0874CF-2EB8-60E5-04E7-6B4286038266}"/>
              </a:ext>
            </a:extLst>
          </p:cNvPr>
          <p:cNvCxnSpPr>
            <a:cxnSpLocks/>
          </p:cNvCxnSpPr>
          <p:nvPr userDrawn="1"/>
        </p:nvCxnSpPr>
        <p:spPr>
          <a:xfrm flipH="1">
            <a:off x="5130734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" name="Picture 139">
            <a:extLst>
              <a:ext uri="{FF2B5EF4-FFF2-40B4-BE49-F238E27FC236}">
                <a16:creationId xmlns:a16="http://schemas.microsoft.com/office/drawing/2014/main" id="{5465D191-C740-4DCE-ED90-826A2A9D23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58237" y="3223665"/>
            <a:ext cx="1907807" cy="1066905"/>
          </a:xfrm>
          <a:prstGeom prst="rect">
            <a:avLst/>
          </a:prstGeom>
          <a:noFill/>
          <a:ln w="38100">
            <a:noFill/>
          </a:ln>
        </p:spPr>
      </p:pic>
      <p:grpSp>
        <p:nvGrpSpPr>
          <p:cNvPr id="142" name="Group 141">
            <a:extLst>
              <a:ext uri="{FF2B5EF4-FFF2-40B4-BE49-F238E27FC236}">
                <a16:creationId xmlns:a16="http://schemas.microsoft.com/office/drawing/2014/main" id="{75B1027F-FF36-6B15-5486-36FEBE56DA66}"/>
              </a:ext>
            </a:extLst>
          </p:cNvPr>
          <p:cNvGrpSpPr/>
          <p:nvPr userDrawn="1"/>
        </p:nvGrpSpPr>
        <p:grpSpPr>
          <a:xfrm>
            <a:off x="5499100" y="1978025"/>
            <a:ext cx="142875" cy="142875"/>
            <a:chOff x="5248275" y="1727200"/>
            <a:chExt cx="142875" cy="142875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7C29F152-ACD4-6684-D143-22FE30F2120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496D4E3-1308-3642-CA25-4028AEE60273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62398831-A582-0D1F-97C2-2A3046410326}"/>
              </a:ext>
            </a:extLst>
          </p:cNvPr>
          <p:cNvGrpSpPr/>
          <p:nvPr userDrawn="1"/>
        </p:nvGrpSpPr>
        <p:grpSpPr>
          <a:xfrm>
            <a:off x="5565259" y="2134307"/>
            <a:ext cx="142875" cy="142875"/>
            <a:chOff x="5248275" y="1727200"/>
            <a:chExt cx="142875" cy="142875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4FEB115-CF4B-5B3B-8035-636755C5AC46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89ABA74-FC6E-E959-404E-B4CCD1439D8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A57897B-0705-FDD6-5D95-ACA5463F56BB}"/>
              </a:ext>
            </a:extLst>
          </p:cNvPr>
          <p:cNvGrpSpPr/>
          <p:nvPr userDrawn="1"/>
        </p:nvGrpSpPr>
        <p:grpSpPr>
          <a:xfrm>
            <a:off x="5771533" y="2158888"/>
            <a:ext cx="142875" cy="142875"/>
            <a:chOff x="5248275" y="1727200"/>
            <a:chExt cx="142875" cy="142875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4E233CF2-4D68-5DF6-59A1-794A378E7E63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22F0B9E-DAF5-6B5C-BE33-81FA2D74A47F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C22B6E-5CB2-BFB4-ABD5-FDCC0B8D471C}"/>
              </a:ext>
            </a:extLst>
          </p:cNvPr>
          <p:cNvGrpSpPr/>
          <p:nvPr userDrawn="1"/>
        </p:nvGrpSpPr>
        <p:grpSpPr>
          <a:xfrm>
            <a:off x="3384427" y="2546036"/>
            <a:ext cx="142875" cy="142875"/>
            <a:chOff x="5248275" y="1727200"/>
            <a:chExt cx="142875" cy="142875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AA1A64C5-F54F-75C1-13FA-85C99426C00A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752A6CCC-45C0-31C1-5E8E-F3038179C218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AE4B7B0-43D5-2D5A-937C-147177F03E01}"/>
              </a:ext>
            </a:extLst>
          </p:cNvPr>
          <p:cNvGrpSpPr/>
          <p:nvPr userDrawn="1"/>
        </p:nvGrpSpPr>
        <p:grpSpPr>
          <a:xfrm>
            <a:off x="2164296" y="2636473"/>
            <a:ext cx="142875" cy="142875"/>
            <a:chOff x="5248275" y="1727200"/>
            <a:chExt cx="142875" cy="142875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B4C07FD9-602C-0647-8399-A72528B9AD75}"/>
                </a:ext>
              </a:extLst>
            </p:cNvPr>
            <p:cNvSpPr/>
            <p:nvPr/>
          </p:nvSpPr>
          <p:spPr>
            <a:xfrm>
              <a:off x="5248275" y="1727200"/>
              <a:ext cx="142875" cy="142875"/>
            </a:xfrm>
            <a:prstGeom prst="ellipse">
              <a:avLst/>
            </a:prstGeom>
            <a:solidFill>
              <a:schemeClr val="accent1">
                <a:alpha val="27675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A39D2826-FBCC-2B30-2CB1-4B55654D1B3C}"/>
                </a:ext>
              </a:extLst>
            </p:cNvPr>
            <p:cNvSpPr/>
            <p:nvPr/>
          </p:nvSpPr>
          <p:spPr>
            <a:xfrm>
              <a:off x="5285091" y="1764016"/>
              <a:ext cx="69243" cy="6924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8A1C0037-D604-F3AF-6467-CD60AFF6BF32}"/>
              </a:ext>
            </a:extLst>
          </p:cNvPr>
          <p:cNvSpPr txBox="1">
            <a:spLocks/>
          </p:cNvSpPr>
          <p:nvPr userDrawn="1"/>
        </p:nvSpPr>
        <p:spPr>
          <a:xfrm>
            <a:off x="11565487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DE4FBA64-F179-BC4D-21EB-60194CFFE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5820" y="3201537"/>
            <a:ext cx="1915244" cy="1066171"/>
          </a:xfrm>
          <a:prstGeom prst="rect">
            <a:avLst/>
          </a:prstGeom>
          <a:noFill/>
          <a:ln w="38100">
            <a:noFill/>
          </a:ln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B8730B82-AEAF-0653-5AC2-16B3871C49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0734" y="3217511"/>
            <a:ext cx="1928023" cy="1065439"/>
          </a:xfrm>
          <a:prstGeom prst="rect">
            <a:avLst/>
          </a:prstGeom>
          <a:noFill/>
          <a:ln w="38100">
            <a:noFill/>
          </a:ln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8E943BF7-8BAB-AE76-8CED-5FA93D3C4F13}"/>
              </a:ext>
            </a:extLst>
          </p:cNvPr>
          <p:cNvSpPr txBox="1"/>
          <p:nvPr userDrawn="1"/>
        </p:nvSpPr>
        <p:spPr>
          <a:xfrm>
            <a:off x="5233665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Pari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1F799E66-6279-972B-3B84-232875F4515B}"/>
              </a:ext>
            </a:extLst>
          </p:cNvPr>
          <p:cNvSpPr txBox="1"/>
          <p:nvPr userDrawn="1"/>
        </p:nvSpPr>
        <p:spPr>
          <a:xfrm>
            <a:off x="5236522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c/o Welkin &amp; Meraki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Paris Faubour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37-39 Rue de Surène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75008 Paris Fran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8501DB6-FA27-1711-9088-08D84C3D124C}"/>
              </a:ext>
            </a:extLst>
          </p:cNvPr>
          <p:cNvSpPr txBox="1"/>
          <p:nvPr userDrawn="1"/>
        </p:nvSpPr>
        <p:spPr>
          <a:xfrm>
            <a:off x="5233590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CF7BFF14-6096-06BE-A82B-BDA178443B70}"/>
              </a:ext>
            </a:extLst>
          </p:cNvPr>
          <p:cNvSpPr txBox="1"/>
          <p:nvPr userDrawn="1"/>
        </p:nvSpPr>
        <p:spPr>
          <a:xfrm>
            <a:off x="2771357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Munich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4167678A-CED1-CBC6-1322-4A84FA1E6301}"/>
              </a:ext>
            </a:extLst>
          </p:cNvPr>
          <p:cNvSpPr txBox="1"/>
          <p:nvPr userDrawn="1"/>
        </p:nvSpPr>
        <p:spPr>
          <a:xfrm>
            <a:off x="2771357" y="4842264"/>
            <a:ext cx="1881848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Advisory GmbH &amp; Co. K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alvatorstraße 3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Munich 80333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German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7573F95-AE48-26BB-C546-4A419F323239}"/>
              </a:ext>
            </a:extLst>
          </p:cNvPr>
          <p:cNvSpPr txBox="1"/>
          <p:nvPr userDrawn="1"/>
        </p:nvSpPr>
        <p:spPr>
          <a:xfrm>
            <a:off x="2771357" y="5719629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9 (0)89 255 49 55-0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EFCA1DC-B872-36D8-70B7-AAD6A2933F5A}"/>
              </a:ext>
            </a:extLst>
          </p:cNvPr>
          <p:cNvSpPr txBox="1"/>
          <p:nvPr userDrawn="1"/>
        </p:nvSpPr>
        <p:spPr>
          <a:xfrm>
            <a:off x="412659" y="4452789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London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E266A4-6015-06B8-AF4F-ED7D282F1DE7}"/>
              </a:ext>
            </a:extLst>
          </p:cNvPr>
          <p:cNvSpPr txBox="1"/>
          <p:nvPr userDrawn="1"/>
        </p:nvSpPr>
        <p:spPr>
          <a:xfrm>
            <a:off x="412659" y="4832836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2 More London Riversid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London SE1 2AP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K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6E881B44-92FC-2B9C-52F9-E631698D8BE3}"/>
              </a:ext>
            </a:extLst>
          </p:cNvPr>
          <p:cNvSpPr txBox="1"/>
          <p:nvPr userDrawn="1"/>
        </p:nvSpPr>
        <p:spPr>
          <a:xfrm>
            <a:off x="412659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44 (0)20 7089 7888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E587856-8C8F-7698-2564-6B5BEF278681}"/>
              </a:ext>
            </a:extLst>
          </p:cNvPr>
          <p:cNvCxnSpPr>
            <a:cxnSpLocks/>
          </p:cNvCxnSpPr>
          <p:nvPr userDrawn="1"/>
        </p:nvCxnSpPr>
        <p:spPr>
          <a:xfrm flipH="1">
            <a:off x="748864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BD53A5A2-BB91-7B87-1BB8-AC9936104484}"/>
              </a:ext>
            </a:extLst>
          </p:cNvPr>
          <p:cNvSpPr txBox="1"/>
          <p:nvPr userDrawn="1"/>
        </p:nvSpPr>
        <p:spPr>
          <a:xfrm>
            <a:off x="7536193" y="4462217"/>
            <a:ext cx="1501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New York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9C0D77A4-3976-94AF-BA2D-17B728405956}"/>
              </a:ext>
            </a:extLst>
          </p:cNvPr>
          <p:cNvSpPr txBox="1"/>
          <p:nvPr userDrawn="1"/>
        </p:nvSpPr>
        <p:spPr>
          <a:xfrm>
            <a:off x="75361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 (US) Inc.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601 Lexington Avenue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New York </a:t>
            </a:r>
            <a:br>
              <a:rPr lang="en-GB" sz="1051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USA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175B2129-4F54-7ACA-C87B-102A226E116A}"/>
              </a:ext>
            </a:extLst>
          </p:cNvPr>
          <p:cNvSpPr txBox="1"/>
          <p:nvPr userDrawn="1"/>
        </p:nvSpPr>
        <p:spPr>
          <a:xfrm>
            <a:off x="75361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+1 347-966-8824</a:t>
            </a: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216225C-9041-3FA8-67A5-5AD0313AF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9786492" y="5599620"/>
            <a:ext cx="192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4FD7FE0A-7259-1652-605D-D5ECE27A3F12}"/>
              </a:ext>
            </a:extLst>
          </p:cNvPr>
          <p:cNvSpPr txBox="1"/>
          <p:nvPr userDrawn="1"/>
        </p:nvSpPr>
        <p:spPr>
          <a:xfrm>
            <a:off x="9767600" y="4462216"/>
            <a:ext cx="18452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2000" b="1">
                <a:solidFill>
                  <a:schemeClr val="bg1"/>
                </a:solidFill>
                <a:latin typeface="+mj-lt"/>
                <a:cs typeface="Arial"/>
              </a:rPr>
              <a:t>San Francisco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6947B391-C7B8-48DF-4044-19E894874551}"/>
              </a:ext>
            </a:extLst>
          </p:cNvPr>
          <p:cNvSpPr txBox="1"/>
          <p:nvPr userDrawn="1"/>
        </p:nvSpPr>
        <p:spPr>
          <a:xfrm>
            <a:off x="9786494" y="4842264"/>
            <a:ext cx="1687919" cy="64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Hg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Squad 1010, 595 Market Street, San Francisco</a:t>
            </a:r>
          </a:p>
          <a:p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CA 94105 USA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89B24A7-E044-B178-4910-785D54AB9EA8}"/>
              </a:ext>
            </a:extLst>
          </p:cNvPr>
          <p:cNvSpPr txBox="1"/>
          <p:nvPr userDrawn="1"/>
        </p:nvSpPr>
        <p:spPr>
          <a:xfrm>
            <a:off x="9786494" y="5719628"/>
            <a:ext cx="168791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en-GB" sz="1051">
              <a:solidFill>
                <a:schemeClr val="bg1"/>
              </a:solidFill>
              <a:latin typeface="+mn-lt"/>
              <a:cs typeface="Arial"/>
            </a:endParaRPr>
          </a:p>
          <a:p>
            <a:pPr>
              <a:spcAft>
                <a:spcPts val="300"/>
              </a:spcAft>
            </a:pPr>
            <a:r>
              <a:rPr lang="en-GB" sz="1051">
                <a:solidFill>
                  <a:schemeClr val="bg1"/>
                </a:solidFill>
                <a:latin typeface="+mn-lt"/>
                <a:cs typeface="Arial"/>
              </a:rPr>
              <a:t>info@hgcapital.com</a:t>
            </a:r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488BC15-49C8-2CB3-934A-8C70CE48624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80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chemeClr val="accent4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556D595-0A07-A123-AC3A-532B5F92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874632"/>
            <a:ext cx="10829085" cy="716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863ECF-DE5E-06C0-B82E-DE3A87FAAB73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62BE3D2-49F1-A05E-C201-77C77E9B7B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ZA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94965D-1D9C-E760-8441-04AD55691B99}"/>
              </a:ext>
            </a:extLst>
          </p:cNvPr>
          <p:cNvSpPr txBox="1"/>
          <p:nvPr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2FEBA4C-981C-DC6C-DF44-90148219F344}"/>
              </a:ext>
            </a:extLst>
          </p:cNvPr>
          <p:cNvSpPr txBox="1"/>
          <p:nvPr userDrawn="1"/>
        </p:nvSpPr>
        <p:spPr>
          <a:xfrm>
            <a:off x="11592475" y="6376944"/>
            <a:ext cx="336000" cy="36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bg1"/>
                </a:solidFill>
              </a:rPr>
              <a:pPr algn="r"/>
              <a:t>‹#›</a:t>
            </a:fld>
            <a:endParaRPr lang="en-GB" sz="1000" b="0">
              <a:solidFill>
                <a:schemeClr val="bg1"/>
              </a:solidFill>
            </a:endParaRPr>
          </a:p>
        </p:txBody>
      </p:sp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35E4E94-7D4E-8815-A165-7E0E1B7093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3851" y="335301"/>
            <a:ext cx="660684" cy="32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982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18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3583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on a roof&#10;&#10;Description automatically generated">
            <a:extLst>
              <a:ext uri="{FF2B5EF4-FFF2-40B4-BE49-F238E27FC236}">
                <a16:creationId xmlns:a16="http://schemas.microsoft.com/office/drawing/2014/main" id="{29F63322-0D60-6E08-A31B-81503FDB7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10"/>
          <a:stretch/>
        </p:blipFill>
        <p:spPr>
          <a:xfrm>
            <a:off x="0" y="1282"/>
            <a:ext cx="11634442" cy="6856718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2560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FEE312-B092-146C-118B-0610FAE6D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0287920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009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A5CCB5C-8D00-1DA0-67F9-2BBD21220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54"/>
          <a:stretch/>
        </p:blipFill>
        <p:spPr>
          <a:xfrm>
            <a:off x="-1" y="-1"/>
            <a:ext cx="9594575" cy="6853613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7568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3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B424D9-AA5C-5445-0052-3050A1E6F2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88"/>
            <a:ext cx="11197098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3743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3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79D3CB-5908-18CE-562C-51157D2A00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88"/>
            <a:ext cx="9616776" cy="6853612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329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4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511CBBA-F507-EBA6-36A8-C1C0AD2BE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842549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6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&amp;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365F3E-729B-2B23-0475-0082802E053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88000" y="1520825"/>
            <a:ext cx="5663538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0100E5-28CD-E95D-66CE-CC85944EE0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4A32F9F6-F35A-4F7E-B547-188DF9548B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0463" y="1520825"/>
            <a:ext cx="5661137" cy="4645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99E2DEF0-31A2-C6D3-FD16-74654071279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9" name="Enable Layout Protection" hidden="1">
            <a:extLst>
              <a:ext uri="{FF2B5EF4-FFF2-40B4-BE49-F238E27FC236}">
                <a16:creationId xmlns:a16="http://schemas.microsoft.com/office/drawing/2014/main" id="{48A3552E-2529-4DD0-4986-D3740E8C22EA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3864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4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399263-3593-374B-5010-164A33A468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389"/>
            <a:ext cx="6997149" cy="6853611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76354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5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304801-AE5F-22EC-6619-D3F033EDD9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58202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9397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5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A561F1-8DD5-398A-375A-3F3ED993D5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71"/>
          <a:stretch/>
        </p:blipFill>
        <p:spPr>
          <a:xfrm>
            <a:off x="-1" y="1"/>
            <a:ext cx="10243982" cy="6858000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1924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6 Nar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786490-AFDF-C180-6306-FA04CD1C90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945909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8842549" y="0"/>
            <a:ext cx="334945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2764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780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6 W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B09C58A-0468-5EAA-C164-6F00A3228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429073" cy="6857999"/>
          </a:xfrm>
          <a:prstGeom prst="rect">
            <a:avLst/>
          </a:prstGeom>
        </p:spPr>
      </p:pic>
      <p:sp>
        <p:nvSpPr>
          <p:cNvPr id="7" name="navy rectangle">
            <a:extLst>
              <a:ext uri="{FF2B5EF4-FFF2-40B4-BE49-F238E27FC236}">
                <a16:creationId xmlns:a16="http://schemas.microsoft.com/office/drawing/2014/main" id="{3D180EE1-0B43-2114-BB46-10F4B12609F1}"/>
              </a:ext>
            </a:extLst>
          </p:cNvPr>
          <p:cNvSpPr/>
          <p:nvPr userDrawn="1"/>
        </p:nvSpPr>
        <p:spPr>
          <a:xfrm>
            <a:off x="6997149" y="0"/>
            <a:ext cx="51948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ideagen logo">
            <a:extLst>
              <a:ext uri="{FF2B5EF4-FFF2-40B4-BE49-F238E27FC236}">
                <a16:creationId xmlns:a16="http://schemas.microsoft.com/office/drawing/2014/main" id="{2A6665B7-D09C-2039-F52B-CD6845FB99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17408" y="5805960"/>
            <a:ext cx="1554334" cy="64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908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avy with Magenta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403489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with Magenta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324553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avy with Teal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3384091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with Teal D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01B84B0-A54C-F4E1-30E7-277AA19ADF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997148" y="0"/>
            <a:ext cx="5194851" cy="6858000"/>
          </a:xfrm>
        </p:spPr>
        <p:txBody>
          <a:bodyPr tIns="2520000" anchor="t" anchorCtr="1"/>
          <a:lstStyle>
            <a:lvl1pPr marL="0" indent="0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39E739D-7098-622F-590A-5135D9FC4B72}"/>
              </a:ext>
            </a:extLst>
          </p:cNvPr>
          <p:cNvSpPr/>
          <p:nvPr userDrawn="1"/>
        </p:nvSpPr>
        <p:spPr>
          <a:xfrm>
            <a:off x="838200" y="1188607"/>
            <a:ext cx="1277257" cy="127725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7BA609-EAAC-7491-7C4F-3BBD846C7E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59757" y="1309688"/>
            <a:ext cx="1034144" cy="103414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3859275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EAF29DC-A31E-2465-D650-6E70B58C10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16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n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nable Layout Protection" hidden="1">
            <a:extLst>
              <a:ext uri="{FF2B5EF4-FFF2-40B4-BE49-F238E27FC236}">
                <a16:creationId xmlns:a16="http://schemas.microsoft.com/office/drawing/2014/main" id="{B91975E4-F451-43E0-B05A-B0EA6B98FD4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15E80C8-22D8-4990-BE85-D0D08BC3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044000"/>
            <a:ext cx="11613600" cy="215444"/>
          </a:xfrm>
        </p:spPr>
        <p:txBody>
          <a:bodyPr>
            <a:spAutoFit/>
          </a:bodyPr>
          <a:lstStyle>
            <a:lvl1pPr>
              <a:defRPr sz="14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nable Layout Protection" hidden="1">
            <a:extLst>
              <a:ext uri="{FF2B5EF4-FFF2-40B4-BE49-F238E27FC236}">
                <a16:creationId xmlns:a16="http://schemas.microsoft.com/office/drawing/2014/main" id="{A7A7EE1E-A074-331C-E2D1-486A747E798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  <p:sp>
        <p:nvSpPr>
          <p:cNvPr id="7" name="Enable Layout Protection" hidden="1">
            <a:extLst>
              <a:ext uri="{FF2B5EF4-FFF2-40B4-BE49-F238E27FC236}">
                <a16:creationId xmlns:a16="http://schemas.microsoft.com/office/drawing/2014/main" id="{000E7679-D0F2-6549-22CA-ABE26FD6FF4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97997" y="1440000"/>
            <a:ext cx="11232000" cy="4320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600" b="0" i="0" u="none" baseline="0">
              <a:solidFill>
                <a:srgbClr val="ECECEC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4586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 with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deagen logo">
            <a:extLst>
              <a:ext uri="{FF2B5EF4-FFF2-40B4-BE49-F238E27FC236}">
                <a16:creationId xmlns:a16="http://schemas.microsoft.com/office/drawing/2014/main" id="{38E9F67A-97B9-D104-5C31-E7E4B6958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4" y="312054"/>
            <a:ext cx="1037974" cy="338822"/>
          </a:xfrm>
          <a:prstGeom prst="rect">
            <a:avLst/>
          </a:prstGeom>
        </p:spPr>
      </p:pic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E74E3CD-B1F5-B1CB-3395-8331D47C21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899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6D36E11-575E-C2CE-0EC2-7F9A5E087E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3982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deagen logo">
            <a:extLst>
              <a:ext uri="{FF2B5EF4-FFF2-40B4-BE49-F238E27FC236}">
                <a16:creationId xmlns:a16="http://schemas.microsoft.com/office/drawing/2014/main" id="{0E788E8D-0FE9-9138-6AD8-AD48E0CB22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78202960-BFCE-3C2B-741D-808F28008A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1798983"/>
            <a:ext cx="10515600" cy="4377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7280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Hea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F8B0BD0-EBED-B714-E007-2656DE56B4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744BC4-458B-9C97-3224-BD5266C349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374" y="2027237"/>
            <a:ext cx="4954309" cy="4164841"/>
          </a:xfrm>
        </p:spPr>
        <p:txBody>
          <a:bodyPr/>
          <a:lstStyle>
            <a:lvl1pPr marL="0" indent="0">
              <a:buNone/>
              <a:defRPr sz="3200" b="1" i="0">
                <a:latin typeface="+mj-lt"/>
              </a:defRPr>
            </a:lvl1pPr>
            <a:lvl2pPr marL="385200" indent="0">
              <a:buNone/>
              <a:defRPr sz="2800" b="1" i="0">
                <a:latin typeface="+mj-lt"/>
              </a:defRPr>
            </a:lvl2pPr>
            <a:lvl3pPr marL="842400" indent="0">
              <a:buNone/>
              <a:defRPr sz="2400" b="1" i="0">
                <a:latin typeface="+mj-lt"/>
              </a:defRPr>
            </a:lvl3pPr>
            <a:lvl4pPr marL="1299600" indent="0">
              <a:buNone/>
              <a:defRPr sz="2000" b="1" i="0">
                <a:latin typeface="+mj-lt"/>
              </a:defRPr>
            </a:lvl4pPr>
            <a:lvl5pPr marL="1756800" indent="0">
              <a:buNone/>
              <a:defRPr sz="1800" b="1" i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367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Hea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F8B0BD0-EBED-B714-E007-2656DE56B4B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744BC4-458B-9C97-3224-BD5266C349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374" y="2365512"/>
            <a:ext cx="4954309" cy="3826565"/>
          </a:xfrm>
        </p:spPr>
        <p:txBody>
          <a:bodyPr/>
          <a:lstStyle>
            <a:lvl1pPr marL="0" indent="0">
              <a:buNone/>
              <a:defRPr sz="3200" b="1" i="0">
                <a:latin typeface="+mj-lt"/>
              </a:defRPr>
            </a:lvl1pPr>
            <a:lvl2pPr marL="385200" indent="0">
              <a:buNone/>
              <a:defRPr sz="2800" b="1" i="0">
                <a:latin typeface="+mj-lt"/>
              </a:defRPr>
            </a:lvl2pPr>
            <a:lvl3pPr marL="842400" indent="0">
              <a:buNone/>
              <a:defRPr sz="2400" b="1" i="0">
                <a:latin typeface="+mj-lt"/>
              </a:defRPr>
            </a:lvl3pPr>
            <a:lvl4pPr marL="1299600" indent="0">
              <a:buNone/>
              <a:defRPr sz="2000" b="1" i="0">
                <a:latin typeface="+mj-lt"/>
              </a:defRPr>
            </a:lvl4pPr>
            <a:lvl5pPr marL="1756800" indent="0">
              <a:buNone/>
              <a:defRPr sz="1800" b="1" i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9871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1085020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1085020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1085020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1085020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07515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deagen logo">
            <a:extLst>
              <a:ext uri="{FF2B5EF4-FFF2-40B4-BE49-F238E27FC236}">
                <a16:creationId xmlns:a16="http://schemas.microsoft.com/office/drawing/2014/main" id="{793CB768-1723-B5F0-50F8-E6FB07A586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3902" y="312054"/>
            <a:ext cx="1037975" cy="338821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1085020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1085020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1085020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1085020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91529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4494882" cy="1859373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449488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4516673"/>
            <a:ext cx="4494882" cy="1859374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156673"/>
            <a:ext cx="449488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FFA745EE-7E27-A6A0-33EE-DA5F6AAEC7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63021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s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B28B51-7786-2798-CCCC-1B22D78DD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9" y="2100165"/>
            <a:ext cx="4494882" cy="1057911"/>
          </a:xfrm>
          <a:ln>
            <a:solidFill>
              <a:schemeClr val="accent1"/>
            </a:solidFill>
          </a:ln>
        </p:spPr>
        <p:txBody>
          <a:bodyPr lIns="360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3358CE-4D71-C4CB-7F67-595E466847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9" y="1740166"/>
            <a:ext cx="4494882" cy="35999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AD29E82C-C451-3F46-FABA-7AFC5B2CFC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899" y="3715209"/>
            <a:ext cx="4494882" cy="1057911"/>
          </a:xfrm>
          <a:ln>
            <a:solidFill>
              <a:schemeClr val="accent6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6"/>
              </a:buClr>
              <a:defRPr sz="1400"/>
            </a:lvl1pPr>
            <a:lvl2pPr>
              <a:buClr>
                <a:schemeClr val="accent6"/>
              </a:buClr>
              <a:defRPr sz="1400"/>
            </a:lvl2pPr>
            <a:lvl3pPr>
              <a:buClr>
                <a:schemeClr val="accent6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177F273F-FB19-029D-3F58-03A27EFB0D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899" y="3355210"/>
            <a:ext cx="4494882" cy="359999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2D9E927-8163-75AE-AE5C-4C09CCD11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9" y="5318135"/>
            <a:ext cx="4494882" cy="1057911"/>
          </a:xfrm>
          <a:ln>
            <a:solidFill>
              <a:schemeClr val="accent3"/>
            </a:solidFill>
          </a:ln>
        </p:spPr>
        <p:txBody>
          <a:bodyPr lIns="360000">
            <a:noAutofit/>
          </a:bodyPr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400"/>
            </a:lvl2pPr>
            <a:lvl3pPr>
              <a:buClr>
                <a:schemeClr val="accent3"/>
              </a:buCl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9714995-C81D-FE86-B371-AF9969C3FE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9" y="4958136"/>
            <a:ext cx="4494882" cy="359999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28800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385200" indent="0">
              <a:buNone/>
              <a:defRPr sz="1800"/>
            </a:lvl2pPr>
            <a:lvl3pPr marL="842400" indent="0">
              <a:buNone/>
              <a:defRPr sz="1800"/>
            </a:lvl3pPr>
            <a:lvl4pPr marL="1299600" indent="0">
              <a:buNone/>
              <a:defRPr sz="1800"/>
            </a:lvl4pPr>
            <a:lvl5pPr marL="1756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FFA745EE-7E27-A6A0-33EE-DA5F6AAEC7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914696" y="516320"/>
            <a:ext cx="6014545" cy="6014545"/>
          </a:xfrm>
        </p:spPr>
        <p:txBody>
          <a:bodyPr tIns="2160000" anchor="t" anchorCtr="1"/>
          <a:lstStyle>
            <a:lvl1pPr marL="0" indent="0">
              <a:buNone/>
              <a:defRPr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456311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s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D925E603-F758-92B0-6D3E-01C61610C73A}"/>
              </a:ext>
            </a:extLst>
          </p:cNvPr>
          <p:cNvSpPr/>
          <p:nvPr userDrawn="1"/>
        </p:nvSpPr>
        <p:spPr>
          <a:xfrm>
            <a:off x="658813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E8FD202-8881-6CEB-22D0-559F931BC65E}"/>
              </a:ext>
            </a:extLst>
          </p:cNvPr>
          <p:cNvSpPr/>
          <p:nvPr userDrawn="1"/>
        </p:nvSpPr>
        <p:spPr>
          <a:xfrm>
            <a:off x="665654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67889-CCCB-BFEA-AE7C-41AA017C0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401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 dirty="0"/>
              <a:t>Numb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19E6F6-F0D2-F829-F22E-C269E7C484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8050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 dirty="0"/>
              <a:t>Detai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4416C71-7F43-6516-89A9-625A8F97B2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8401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E02C4FD-7CA7-A36E-51EF-1035B0E887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050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A97D8-705A-CFEC-7C7C-68999AFCD4A8}"/>
              </a:ext>
            </a:extLst>
          </p:cNvPr>
          <p:cNvSpPr/>
          <p:nvPr userDrawn="1"/>
        </p:nvSpPr>
        <p:spPr>
          <a:xfrm>
            <a:off x="3540125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0BDAC-B323-5098-86A6-18FED715B5E5}"/>
              </a:ext>
            </a:extLst>
          </p:cNvPr>
          <p:cNvSpPr/>
          <p:nvPr userDrawn="1"/>
        </p:nvSpPr>
        <p:spPr>
          <a:xfrm>
            <a:off x="3546966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AC933E1-B32D-C073-3331-7D11208305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9713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9F2C0562-963B-7C7F-4DE1-2F852C7790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89362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 dirty="0"/>
              <a:t>Detail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477C854-E2C2-0FE1-9144-BEB60151D8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9713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C4491C3A-2963-44D0-7AC5-CD6B420BD3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89362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30ED0D-E0CB-ACE5-1710-68A74186E5EE}"/>
              </a:ext>
            </a:extLst>
          </p:cNvPr>
          <p:cNvSpPr/>
          <p:nvPr userDrawn="1"/>
        </p:nvSpPr>
        <p:spPr>
          <a:xfrm>
            <a:off x="6423994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38189C-7AD7-A583-A44D-1C39904B5EB4}"/>
              </a:ext>
            </a:extLst>
          </p:cNvPr>
          <p:cNvSpPr/>
          <p:nvPr userDrawn="1"/>
        </p:nvSpPr>
        <p:spPr>
          <a:xfrm>
            <a:off x="6430835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D9DAC80-F71B-ED7B-5F03-33577D0C69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73582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FA2D830F-C09E-8E63-B8B8-0B143A9814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3231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 dirty="0"/>
              <a:t>Detail</a:t>
            </a:r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1E0C0091-A7A8-D074-10EC-D0538B8EF0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3582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8AC9AF3B-EE7D-F377-A47B-26FCFC7178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73231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66E4FC-B624-7901-1C0C-E1EACDB27301}"/>
              </a:ext>
            </a:extLst>
          </p:cNvPr>
          <p:cNvSpPr/>
          <p:nvPr userDrawn="1"/>
        </p:nvSpPr>
        <p:spPr>
          <a:xfrm>
            <a:off x="9305306" y="2205038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38C713-C125-42E1-2C34-E13069E71332}"/>
              </a:ext>
            </a:extLst>
          </p:cNvPr>
          <p:cNvSpPr/>
          <p:nvPr userDrawn="1"/>
        </p:nvSpPr>
        <p:spPr>
          <a:xfrm>
            <a:off x="9312147" y="4005263"/>
            <a:ext cx="254547" cy="1384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5A110C4-2229-72B3-7A11-77CB41F2BC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54894" y="2205038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:a16="http://schemas.microsoft.com/office/drawing/2014/main" id="{6998A2F8-DEB6-2111-2BBB-A334E1C953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54543" y="2754351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 dirty="0"/>
              <a:t>Detail</a:t>
            </a:r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38433E5-3268-A4BD-985A-22378B06BDB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54894" y="4005263"/>
            <a:ext cx="2211388" cy="1384156"/>
          </a:xfr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144000" tIns="36000" rIns="144000"/>
          <a:lstStyle>
            <a:lvl1pPr marL="0" indent="0" algn="r">
              <a:buNone/>
              <a:defRPr sz="4000" b="1" i="0">
                <a:solidFill>
                  <a:schemeClr val="accent2"/>
                </a:solidFill>
                <a:latin typeface="+mj-lt"/>
              </a:defRPr>
            </a:lvl1pPr>
            <a:lvl2pPr marL="385200" indent="0" algn="r">
              <a:buNone/>
              <a:defRPr sz="1800"/>
            </a:lvl2pPr>
          </a:lstStyle>
          <a:p>
            <a:pPr lvl="0"/>
            <a:r>
              <a:rPr lang="en-GB"/>
              <a:t>Number</a:t>
            </a: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6387B87B-A8A5-4073-4778-D782292421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4543" y="4554432"/>
            <a:ext cx="2211388" cy="834987"/>
          </a:xfrm>
        </p:spPr>
        <p:txBody>
          <a:bodyPr lIns="144000" rIns="144000" anchor="ctr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385200" indent="0">
              <a:buNone/>
              <a:defRPr/>
            </a:lvl2pPr>
            <a:lvl3pPr marL="842400" indent="0">
              <a:buNone/>
              <a:defRPr/>
            </a:lvl3pPr>
            <a:lvl4pPr marL="1299600" indent="0">
              <a:buNone/>
              <a:defRPr/>
            </a:lvl4pPr>
            <a:lvl5pPr marL="1756800" indent="0">
              <a:buNone/>
              <a:defRPr/>
            </a:lvl5pPr>
          </a:lstStyle>
          <a:p>
            <a:pPr lvl="0"/>
            <a:r>
              <a:rPr lang="en-GB"/>
              <a:t>Det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317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  <p15:guide id="2" pos="415">
          <p15:clr>
            <a:srgbClr val="FBAE40"/>
          </p15:clr>
        </p15:guide>
        <p15:guide id="3" pos="2230">
          <p15:clr>
            <a:srgbClr val="FBAE40"/>
          </p15:clr>
        </p15:guide>
        <p15:guide id="4" pos="4044">
          <p15:clr>
            <a:srgbClr val="FBAE40"/>
          </p15:clr>
        </p15:guide>
        <p15:guide id="5" pos="5858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6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64.xml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ags" Target="../tags/tag12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125.xml"/><Relationship Id="rId30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9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42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slideLayout" Target="../slideLayouts/slideLayout109.xml"/><Relationship Id="rId40" Type="http://schemas.openxmlformats.org/officeDocument/2006/relationships/slideLayout" Target="../slideLayouts/slideLayout112.xml"/><Relationship Id="rId45" Type="http://schemas.openxmlformats.org/officeDocument/2006/relationships/theme" Target="../theme/theme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4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43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92.xml"/><Relationship Id="rId41" Type="http://schemas.openxmlformats.org/officeDocument/2006/relationships/slideLayout" Target="../slideLayouts/slideLayout11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37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63" Type="http://schemas.openxmlformats.org/officeDocument/2006/relationships/slideLayout" Target="../slideLayouts/slideLayout179.xml"/><Relationship Id="rId68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23.xml"/><Relationship Id="rId71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9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6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21.xml"/><Relationship Id="rId61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56" Type="http://schemas.openxmlformats.org/officeDocument/2006/relationships/slideLayout" Target="../slideLayouts/slideLayout172.xml"/><Relationship Id="rId64" Type="http://schemas.openxmlformats.org/officeDocument/2006/relationships/slideLayout" Target="../slideLayouts/slideLayout180.xml"/><Relationship Id="rId69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72" Type="http://schemas.openxmlformats.org/officeDocument/2006/relationships/theme" Target="../theme/theme5.xml"/><Relationship Id="rId3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46" Type="http://schemas.openxmlformats.org/officeDocument/2006/relationships/slideLayout" Target="../slideLayouts/slideLayout162.xml"/><Relationship Id="rId59" Type="http://schemas.openxmlformats.org/officeDocument/2006/relationships/slideLayout" Target="../slideLayouts/slideLayout175.xml"/><Relationship Id="rId67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54" Type="http://schemas.openxmlformats.org/officeDocument/2006/relationships/slideLayout" Target="../slideLayouts/slideLayout170.xml"/><Relationship Id="rId62" Type="http://schemas.openxmlformats.org/officeDocument/2006/relationships/slideLayout" Target="../slideLayouts/slideLayout178.xml"/><Relationship Id="rId70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slideLayout" Target="../slideLayouts/slideLayout152.xml"/><Relationship Id="rId49" Type="http://schemas.openxmlformats.org/officeDocument/2006/relationships/slideLayout" Target="../slideLayouts/slideLayout165.xml"/><Relationship Id="rId57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47.xml"/><Relationship Id="rId44" Type="http://schemas.openxmlformats.org/officeDocument/2006/relationships/slideLayout" Target="../slideLayouts/slideLayout160.xml"/><Relationship Id="rId52" Type="http://schemas.openxmlformats.org/officeDocument/2006/relationships/slideLayout" Target="../slideLayouts/slideLayout168.xml"/><Relationship Id="rId60" Type="http://schemas.openxmlformats.org/officeDocument/2006/relationships/slideLayout" Target="../slideLayouts/slideLayout176.xml"/><Relationship Id="rId6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50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C0F0D-C18D-6E70-1038-8D8FE20D6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63198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C0F0D-C18D-6E70-1038-8D8FE20D6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9952A24-2598-1D68-ABE3-30E420056704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20825"/>
            <a:ext cx="11613488" cy="4645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000" y="6345237"/>
            <a:ext cx="7703900" cy="22476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lvl1pPr algn="l">
              <a:defRPr lang="en-GB" sz="1000" dirty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9D6328-C137-4217-B287-41FC90EFC30C}"/>
              </a:ext>
            </a:extLst>
          </p:cNvPr>
          <p:cNvSpPr txBox="1"/>
          <p:nvPr/>
        </p:nvSpPr>
        <p:spPr>
          <a:xfrm>
            <a:off x="11565488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950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30" r:id="rId15"/>
    <p:sldLayoutId id="2147483831" r:id="rId16"/>
    <p:sldLayoutId id="2147483832" r:id="rId17"/>
    <p:sldLayoutId id="2147483833" r:id="rId18"/>
    <p:sldLayoutId id="2147483838" r:id="rId19"/>
    <p:sldLayoutId id="2147483834" r:id="rId20"/>
    <p:sldLayoutId id="2147483845" r:id="rId21"/>
    <p:sldLayoutId id="2147483835" r:id="rId22"/>
    <p:sldLayoutId id="2147483836" r:id="rId23"/>
    <p:sldLayoutId id="2147483837" r:id="rId24"/>
  </p:sldLayoutIdLst>
  <p:hf sldNum="0" hdr="0"/>
  <p:txStyles>
    <p:titleStyle>
      <a:lvl1pPr algn="l" defTabSz="914400" rtl="0" eaLnBrk="1" latinLnBrk="0" hangingPunct="1">
        <a:lnSpc>
          <a:spcPct val="105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2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3749">
          <p15:clr>
            <a:srgbClr val="F26B43"/>
          </p15:clr>
        </p15:guide>
        <p15:guide id="8" pos="3931">
          <p15:clr>
            <a:srgbClr val="F26B43"/>
          </p15:clr>
        </p15:guide>
        <p15:guide id="36" orient="horz" pos="572" userDrawn="1">
          <p15:clr>
            <a:srgbClr val="F26B43"/>
          </p15:clr>
        </p15:guide>
        <p15:guide id="37" pos="180" userDrawn="1">
          <p15:clr>
            <a:srgbClr val="F26B43"/>
          </p15:clr>
        </p15:guide>
        <p15:guide id="38" orient="horz" pos="2262" userDrawn="1">
          <p15:clr>
            <a:srgbClr val="F26B43"/>
          </p15:clr>
        </p15:guide>
        <p15:guide id="39" orient="horz" pos="3884" userDrawn="1">
          <p15:clr>
            <a:srgbClr val="F26B43"/>
          </p15:clr>
        </p15:guide>
        <p15:guide id="40" orient="horz" pos="3997" userDrawn="1">
          <p15:clr>
            <a:srgbClr val="F26B43"/>
          </p15:clr>
        </p15:guide>
        <p15:guide id="41" pos="7497" userDrawn="1">
          <p15:clr>
            <a:srgbClr val="F26B43"/>
          </p15:clr>
        </p15:guide>
        <p15:guide id="42" orient="horz" pos="822" userDrawn="1">
          <p15:clr>
            <a:srgbClr val="F26B43"/>
          </p15:clr>
        </p15:guide>
        <p15:guide id="43" orient="horz" pos="210" userDrawn="1">
          <p15:clr>
            <a:srgbClr val="F26B43"/>
          </p15:clr>
        </p15:guide>
        <p15:guide id="44" orient="horz" pos="4139" userDrawn="1">
          <p15:clr>
            <a:srgbClr val="F26B43"/>
          </p15:clr>
        </p15:guide>
        <p15:guide id="45" orient="horz" pos="958" userDrawn="1">
          <p15:clr>
            <a:srgbClr val="F26B43"/>
          </p15:clr>
        </p15:guide>
        <p15:guide id="46" orient="horz" pos="656" userDrawn="1">
          <p15:clr>
            <a:srgbClr val="F26B43"/>
          </p15:clr>
        </p15:guide>
        <p15:guide id="47" pos="6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6473909-6B52-ABD3-403B-16384917A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345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73909-6B52-ABD3-403B-16384917A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9952A24-2598-1D68-ABE3-30E420056704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20825"/>
            <a:ext cx="11613488" cy="4645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000" y="6345237"/>
            <a:ext cx="7703900" cy="22476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lvl1pPr algn="l">
              <a:defRPr lang="en-GB" sz="1000" dirty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9D6328-C137-4217-B287-41FC90EFC30C}"/>
              </a:ext>
            </a:extLst>
          </p:cNvPr>
          <p:cNvSpPr txBox="1"/>
          <p:nvPr/>
        </p:nvSpPr>
        <p:spPr>
          <a:xfrm>
            <a:off x="11565488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888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</p:sldLayoutIdLst>
  <p:hf sldNum="0" hdr="0"/>
  <p:txStyles>
    <p:titleStyle>
      <a:lvl1pPr algn="l" defTabSz="914400" rtl="0" eaLnBrk="1" latinLnBrk="0" hangingPunct="1">
        <a:lnSpc>
          <a:spcPct val="105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2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3749">
          <p15:clr>
            <a:srgbClr val="F26B43"/>
          </p15:clr>
        </p15:guide>
        <p15:guide id="8" pos="3931">
          <p15:clr>
            <a:srgbClr val="F26B43"/>
          </p15:clr>
        </p15:guide>
        <p15:guide id="36" orient="horz" pos="572">
          <p15:clr>
            <a:srgbClr val="F26B43"/>
          </p15:clr>
        </p15:guide>
        <p15:guide id="37" pos="180">
          <p15:clr>
            <a:srgbClr val="F26B43"/>
          </p15:clr>
        </p15:guide>
        <p15:guide id="38" orient="horz" pos="2262">
          <p15:clr>
            <a:srgbClr val="F26B43"/>
          </p15:clr>
        </p15:guide>
        <p15:guide id="39" orient="horz" pos="3884">
          <p15:clr>
            <a:srgbClr val="F26B43"/>
          </p15:clr>
        </p15:guide>
        <p15:guide id="40" orient="horz" pos="3997">
          <p15:clr>
            <a:srgbClr val="F26B43"/>
          </p15:clr>
        </p15:guide>
        <p15:guide id="41" pos="7497">
          <p15:clr>
            <a:srgbClr val="F26B43"/>
          </p15:clr>
        </p15:guide>
        <p15:guide id="42" orient="horz" pos="822">
          <p15:clr>
            <a:srgbClr val="F26B43"/>
          </p15:clr>
        </p15:guide>
        <p15:guide id="43" orient="horz" pos="210">
          <p15:clr>
            <a:srgbClr val="F26B43"/>
          </p15:clr>
        </p15:guide>
        <p15:guide id="44" orient="horz" pos="4139">
          <p15:clr>
            <a:srgbClr val="F26B43"/>
          </p15:clr>
        </p15:guide>
        <p15:guide id="45" orient="horz" pos="958">
          <p15:clr>
            <a:srgbClr val="F26B43"/>
          </p15:clr>
        </p15:guide>
        <p15:guide id="46" orient="horz" pos="656">
          <p15:clr>
            <a:srgbClr val="F26B43"/>
          </p15:clr>
        </p15:guide>
        <p15:guide id="47" pos="6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C077E63-CF41-ACFA-9DC1-9B64C3EF0B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30685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077E63-CF41-ACFA-9DC1-9B64C3EF0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9952A24-2598-1D68-ABE3-30E420056704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693" y="333374"/>
            <a:ext cx="644795" cy="32014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000" y="333374"/>
            <a:ext cx="10800000" cy="574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20825"/>
            <a:ext cx="11613488" cy="4645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000" y="6345237"/>
            <a:ext cx="7703900" cy="22476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lvl1pPr algn="l">
              <a:defRPr lang="en-GB" sz="1000" dirty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9D6328-C137-4217-B287-41FC90EFC30C}"/>
              </a:ext>
            </a:extLst>
          </p:cNvPr>
          <p:cNvSpPr txBox="1"/>
          <p:nvPr/>
        </p:nvSpPr>
        <p:spPr>
          <a:xfrm>
            <a:off x="11565488" y="6357680"/>
            <a:ext cx="336000" cy="21231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118A069D-9FB4-4245-B99C-DAF842870CBA}" type="slidenum">
              <a:rPr lang="en-GB" sz="1000" b="0">
                <a:solidFill>
                  <a:schemeClr val="tx1"/>
                </a:solidFill>
              </a:rPr>
              <a:pPr algn="r"/>
              <a:t>‹#›</a:t>
            </a:fld>
            <a:endParaRPr lang="en-GB" sz="1000" b="0">
              <a:solidFill>
                <a:schemeClr val="tx1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24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</p:sldLayoutIdLst>
  <p:hf sldNum="0" hdr="0"/>
  <p:txStyles>
    <p:titleStyle>
      <a:lvl1pPr algn="l" defTabSz="914400" rtl="0" eaLnBrk="1" latinLnBrk="0" hangingPunct="1">
        <a:lnSpc>
          <a:spcPct val="105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2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3749">
          <p15:clr>
            <a:srgbClr val="F26B43"/>
          </p15:clr>
        </p15:guide>
        <p15:guide id="8" pos="3931">
          <p15:clr>
            <a:srgbClr val="F26B43"/>
          </p15:clr>
        </p15:guide>
        <p15:guide id="36" orient="horz" pos="572">
          <p15:clr>
            <a:srgbClr val="F26B43"/>
          </p15:clr>
        </p15:guide>
        <p15:guide id="37" pos="180">
          <p15:clr>
            <a:srgbClr val="F26B43"/>
          </p15:clr>
        </p15:guide>
        <p15:guide id="38" orient="horz" pos="2262">
          <p15:clr>
            <a:srgbClr val="F26B43"/>
          </p15:clr>
        </p15:guide>
        <p15:guide id="39" orient="horz" pos="3884">
          <p15:clr>
            <a:srgbClr val="F26B43"/>
          </p15:clr>
        </p15:guide>
        <p15:guide id="40" orient="horz" pos="3997">
          <p15:clr>
            <a:srgbClr val="F26B43"/>
          </p15:clr>
        </p15:guide>
        <p15:guide id="41" pos="7497">
          <p15:clr>
            <a:srgbClr val="F26B43"/>
          </p15:clr>
        </p15:guide>
        <p15:guide id="42" orient="horz" pos="822">
          <p15:clr>
            <a:srgbClr val="F26B43"/>
          </p15:clr>
        </p15:guide>
        <p15:guide id="43" orient="horz" pos="210">
          <p15:clr>
            <a:srgbClr val="F26B43"/>
          </p15:clr>
        </p15:guide>
        <p15:guide id="44" orient="horz" pos="4139">
          <p15:clr>
            <a:srgbClr val="F26B43"/>
          </p15:clr>
        </p15:guide>
        <p15:guide id="45" orient="horz" pos="958">
          <p15:clr>
            <a:srgbClr val="F26B43"/>
          </p15:clr>
        </p15:guide>
        <p15:guide id="46" orient="horz" pos="656">
          <p15:clr>
            <a:srgbClr val="F26B43"/>
          </p15:clr>
        </p15:guide>
        <p15:guide id="47" pos="6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F2BF96-E28A-EF77-16D4-D36549E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FAAF22-34AB-4799-7844-EA9E5AA9B0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F7180-98F2-0AF0-F34C-EB108E9E09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/>
                </a:solidFill>
                <a:latin typeface="Gilroy" pitchFamily="2" charset="77"/>
              </a:defRPr>
            </a:lvl1pPr>
          </a:lstStyle>
          <a:p>
            <a:fld id="{EC15156F-D046-4E40-88B2-57372FCA666E}" type="datetimeFigureOut">
              <a:rPr lang="en-US"/>
              <a:pPr/>
              <a:t>10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F089AD-BB80-632D-3C88-822D8E1FE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/>
                </a:solidFill>
                <a:latin typeface="Gilroy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C7B12-A608-8544-20A3-E102BF0536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accent3"/>
                </a:solidFill>
                <a:latin typeface="Gilroy" pitchFamily="2" charset="77"/>
              </a:defRPr>
            </a:lvl1pPr>
          </a:lstStyle>
          <a:p>
            <a:fld id="{4C3E418C-1B5B-2243-8F27-71F7CA7CED6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334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spcAft>
          <a:spcPts val="600"/>
        </a:spcAft>
        <a:buNone/>
        <a:defRPr sz="4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3006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F2BF96-E28A-EF77-16D4-D36549E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FAAF22-34AB-4799-7844-EA9E5AA9B0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F7180-98F2-0AF0-F34C-EB108E9E09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/>
                </a:solidFill>
                <a:latin typeface="Gilroy" pitchFamily="2" charset="77"/>
              </a:defRPr>
            </a:lvl1pPr>
          </a:lstStyle>
          <a:p>
            <a:fld id="{EC15156F-D046-4E40-88B2-57372FCA666E}" type="datetimeFigureOut">
              <a:rPr lang="en-US"/>
              <a:pPr/>
              <a:t>10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F089AD-BB80-632D-3C88-822D8E1FEC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/>
                </a:solidFill>
                <a:latin typeface="Gilroy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C7B12-A608-8544-20A3-E102BF0536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accent3"/>
                </a:solidFill>
                <a:latin typeface="Gilroy" pitchFamily="2" charset="77"/>
              </a:defRPr>
            </a:lvl1pPr>
          </a:lstStyle>
          <a:p>
            <a:fld id="{4C3E418C-1B5B-2243-8F27-71F7CA7CED6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747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  <p:sldLayoutId id="2147484007" r:id="rId41"/>
    <p:sldLayoutId id="2147484008" r:id="rId42"/>
    <p:sldLayoutId id="2147484009" r:id="rId43"/>
    <p:sldLayoutId id="2147484010" r:id="rId44"/>
    <p:sldLayoutId id="2147484011" r:id="rId45"/>
    <p:sldLayoutId id="2147484012" r:id="rId46"/>
    <p:sldLayoutId id="2147484013" r:id="rId47"/>
    <p:sldLayoutId id="2147484014" r:id="rId48"/>
    <p:sldLayoutId id="2147484015" r:id="rId49"/>
    <p:sldLayoutId id="2147484016" r:id="rId50"/>
    <p:sldLayoutId id="2147484017" r:id="rId51"/>
    <p:sldLayoutId id="2147484018" r:id="rId52"/>
    <p:sldLayoutId id="2147484019" r:id="rId53"/>
    <p:sldLayoutId id="2147484020" r:id="rId54"/>
    <p:sldLayoutId id="2147484021" r:id="rId55"/>
    <p:sldLayoutId id="2147484022" r:id="rId56"/>
    <p:sldLayoutId id="2147484023" r:id="rId57"/>
    <p:sldLayoutId id="2147484024" r:id="rId58"/>
    <p:sldLayoutId id="2147484025" r:id="rId59"/>
    <p:sldLayoutId id="2147484026" r:id="rId60"/>
    <p:sldLayoutId id="2147484027" r:id="rId61"/>
    <p:sldLayoutId id="2147484028" r:id="rId62"/>
    <p:sldLayoutId id="2147484029" r:id="rId63"/>
    <p:sldLayoutId id="2147484030" r:id="rId64"/>
    <p:sldLayoutId id="2147484031" r:id="rId65"/>
    <p:sldLayoutId id="2147484032" r:id="rId66"/>
    <p:sldLayoutId id="2147484033" r:id="rId67"/>
    <p:sldLayoutId id="2147484034" r:id="rId68"/>
    <p:sldLayoutId id="2147484035" r:id="rId69"/>
    <p:sldLayoutId id="2147484036" r:id="rId70"/>
    <p:sldLayoutId id="2147484037" r:id="rId71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spcAft>
          <a:spcPts val="600"/>
        </a:spcAft>
        <a:buNone/>
        <a:defRPr sz="4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3006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300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5.xml"/><Relationship Id="rId7" Type="http://schemas.openxmlformats.org/officeDocument/2006/relationships/oleObject" Target="../embeddings/oleObject4.bin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6" Type="http://schemas.openxmlformats.org/officeDocument/2006/relationships/image" Target="../media/image30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53.emf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1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.xml"/><Relationship Id="rId7" Type="http://schemas.openxmlformats.org/officeDocument/2006/relationships/oleObject" Target="../embeddings/oleObject14.bin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6.xml"/><Relationship Id="rId7" Type="http://schemas.openxmlformats.org/officeDocument/2006/relationships/oleObject" Target="../embeddings/oleObject15.bin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7.x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6.xml"/><Relationship Id="rId4" Type="http://schemas.openxmlformats.org/officeDocument/2006/relationships/image" Target="../media/image3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png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emf"/><Relationship Id="rId15" Type="http://schemas.openxmlformats.org/officeDocument/2006/relationships/image" Target="../media/image6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jpeg"/><Relationship Id="rId9" Type="http://schemas.openxmlformats.org/officeDocument/2006/relationships/image" Target="../media/image8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aws.amazon.com/porting-assistant-dotnet/" TargetMode="External"/><Relationship Id="rId1" Type="http://schemas.openxmlformats.org/officeDocument/2006/relationships/slideLayout" Target="../slideLayouts/slideLayout9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6.bin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59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4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4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4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88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100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5.xml"/><Relationship Id="rId6" Type="http://schemas.openxmlformats.org/officeDocument/2006/relationships/image" Target="../media/image105.jpg"/><Relationship Id="rId5" Type="http://schemas.openxmlformats.org/officeDocument/2006/relationships/image" Target="../media/image104.jpeg"/><Relationship Id="rId4" Type="http://schemas.openxmlformats.org/officeDocument/2006/relationships/image" Target="../media/image103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51.jpeg"/><Relationship Id="rId1" Type="http://schemas.openxmlformats.org/officeDocument/2006/relationships/tags" Target="../tags/tag189.xml"/><Relationship Id="rId6" Type="http://schemas.openxmlformats.org/officeDocument/2006/relationships/image" Target="../media/image41.png"/><Relationship Id="rId11" Type="http://schemas.openxmlformats.org/officeDocument/2006/relationships/image" Target="../media/image46.jpeg"/><Relationship Id="rId5" Type="http://schemas.openxmlformats.org/officeDocument/2006/relationships/image" Target="../media/image1.emf"/><Relationship Id="rId15" Type="http://schemas.openxmlformats.org/officeDocument/2006/relationships/image" Target="../media/image50.png"/><Relationship Id="rId10" Type="http://schemas.openxmlformats.org/officeDocument/2006/relationships/image" Target="../media/image45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4.jpeg"/><Relationship Id="rId14" Type="http://schemas.openxmlformats.org/officeDocument/2006/relationships/image" Target="../media/image49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7" Type="http://schemas.openxmlformats.org/officeDocument/2006/relationships/image" Target="../media/image11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112.jpg"/><Relationship Id="rId5" Type="http://schemas.openxmlformats.org/officeDocument/2006/relationships/image" Target="../media/image111.svg"/><Relationship Id="rId4" Type="http://schemas.openxmlformats.org/officeDocument/2006/relationships/image" Target="../media/image110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5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7" Type="http://schemas.openxmlformats.org/officeDocument/2006/relationships/image" Target="../media/image120.png"/><Relationship Id="rId2" Type="http://schemas.openxmlformats.org/officeDocument/2006/relationships/image" Target="../media/image115.jpg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123.sv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127.jpg"/><Relationship Id="rId5" Type="http://schemas.openxmlformats.org/officeDocument/2006/relationships/image" Target="../media/image126.jpg"/><Relationship Id="rId4" Type="http://schemas.openxmlformats.org/officeDocument/2006/relationships/image" Target="../media/image125.jp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8.jpg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123.sv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1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30.jpg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123.sv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133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34.jp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23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5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.xml"/><Relationship Id="rId7" Type="http://schemas.openxmlformats.org/officeDocument/2006/relationships/oleObject" Target="../embeddings/oleObject17.bin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50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9.xml"/><Relationship Id="rId7" Type="http://schemas.openxmlformats.org/officeDocument/2006/relationships/oleObject" Target="../embeddings/oleObject18.bin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20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50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6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7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0.xml"/><Relationship Id="rId6" Type="http://schemas.openxmlformats.org/officeDocument/2006/relationships/image" Target="../media/image34.svg"/><Relationship Id="rId11" Type="http://schemas.openxmlformats.org/officeDocument/2006/relationships/image" Target="../media/image35.png"/><Relationship Id="rId5" Type="http://schemas.openxmlformats.org/officeDocument/2006/relationships/image" Target="../media/image33.png"/><Relationship Id="rId10" Type="http://schemas.openxmlformats.org/officeDocument/2006/relationships/image" Target="../media/image40.svg"/><Relationship Id="rId4" Type="http://schemas.openxmlformats.org/officeDocument/2006/relationships/image" Target="../media/image1.emf"/><Relationship Id="rId9" Type="http://schemas.openxmlformats.org/officeDocument/2006/relationships/image" Target="../media/image39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1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2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90.xml"/><Relationship Id="rId6" Type="http://schemas.openxmlformats.org/officeDocument/2006/relationships/image" Target="../media/image41.png"/><Relationship Id="rId5" Type="http://schemas.openxmlformats.org/officeDocument/2006/relationships/image" Target="../media/image45.jpeg"/><Relationship Id="rId4" Type="http://schemas.openxmlformats.org/officeDocument/2006/relationships/image" Target="../media/image52.emf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7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3.xml"/><Relationship Id="rId6" Type="http://schemas.openxmlformats.org/officeDocument/2006/relationships/image" Target="../media/image34.svg"/><Relationship Id="rId11" Type="http://schemas.openxmlformats.org/officeDocument/2006/relationships/image" Target="../media/image35.png"/><Relationship Id="rId5" Type="http://schemas.openxmlformats.org/officeDocument/2006/relationships/image" Target="../media/image33.png"/><Relationship Id="rId10" Type="http://schemas.openxmlformats.org/officeDocument/2006/relationships/image" Target="../media/image40.svg"/><Relationship Id="rId4" Type="http://schemas.openxmlformats.org/officeDocument/2006/relationships/image" Target="../media/image1.emf"/><Relationship Id="rId9" Type="http://schemas.openxmlformats.org/officeDocument/2006/relationships/image" Target="../media/image39.png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4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5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37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6.xml"/><Relationship Id="rId6" Type="http://schemas.openxmlformats.org/officeDocument/2006/relationships/image" Target="../media/image34.svg"/><Relationship Id="rId11" Type="http://schemas.openxmlformats.org/officeDocument/2006/relationships/image" Target="../media/image35.png"/><Relationship Id="rId5" Type="http://schemas.openxmlformats.org/officeDocument/2006/relationships/image" Target="../media/image33.png"/><Relationship Id="rId10" Type="http://schemas.openxmlformats.org/officeDocument/2006/relationships/image" Target="../media/image40.svg"/><Relationship Id="rId4" Type="http://schemas.openxmlformats.org/officeDocument/2006/relationships/image" Target="../media/image1.emf"/><Relationship Id="rId9" Type="http://schemas.openxmlformats.org/officeDocument/2006/relationships/image" Target="../media/image39.png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7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35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08.xml"/><Relationship Id="rId6" Type="http://schemas.openxmlformats.org/officeDocument/2006/relationships/image" Target="../media/image40.svg"/><Relationship Id="rId11" Type="http://schemas.openxmlformats.org/officeDocument/2006/relationships/image" Target="../media/image37.png"/><Relationship Id="rId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9.xml"/><Relationship Id="rId7" Type="http://schemas.openxmlformats.org/officeDocument/2006/relationships/oleObject" Target="../embeddings/oleObject28.bin"/><Relationship Id="rId2" Type="http://schemas.openxmlformats.org/officeDocument/2006/relationships/customXml" Target="../../customXml/item23.xml"/><Relationship Id="rId1" Type="http://schemas.openxmlformats.org/officeDocument/2006/relationships/customXml" Target="../../customXml/item22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50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10.xml"/><Relationship Id="rId4" Type="http://schemas.openxmlformats.org/officeDocument/2006/relationships/image" Target="../media/image1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11.xml"/><Relationship Id="rId4" Type="http://schemas.openxmlformats.org/officeDocument/2006/relationships/image" Target="../media/image1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1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10.bin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0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3.xml"/><Relationship Id="rId7" Type="http://schemas.openxmlformats.org/officeDocument/2006/relationships/oleObject" Target="../embeddings/oleObject32.bin"/><Relationship Id="rId2" Type="http://schemas.openxmlformats.org/officeDocument/2006/relationships/customXml" Target="../../customXml/item25.xml"/><Relationship Id="rId1" Type="http://schemas.openxmlformats.org/officeDocument/2006/relationships/customXml" Target="../../customXml/item24.xml"/><Relationship Id="rId6" Type="http://schemas.openxmlformats.org/officeDocument/2006/relationships/image" Target="../media/image32.jpeg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50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833EB4-8148-47F6-04DB-34D0D13491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890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833EB4-8148-47F6-04DB-34D0D1349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32BA280-18FB-4486-AC4D-7AE49367E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8000" y="3590925"/>
            <a:ext cx="9975223" cy="1464525"/>
          </a:xfrm>
        </p:spPr>
        <p:txBody>
          <a:bodyPr vert="horz"/>
          <a:lstStyle/>
          <a:p>
            <a:r>
              <a:rPr lang="en-GB" err="1"/>
              <a:t>GenAI</a:t>
            </a:r>
            <a:r>
              <a:rPr lang="en-GB"/>
              <a:t> Developer Enablement</a:t>
            </a:r>
            <a:br>
              <a:rPr lang="en-GB"/>
            </a:br>
            <a:r>
              <a:rPr lang="en-GB"/>
              <a:t>Proof of Value Hackatho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F2D4557-4290-40D1-9375-0D599039FB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October, 2023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6199897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0BC2B17D-F58E-9720-CE62-9A04EBC4E8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812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B17D-F58E-9720-CE62-9A04EBC4E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6334D6F6-96A7-F339-30EB-86592F3B0B8B}"/>
              </a:ext>
            </a:extLst>
          </p:cNvPr>
          <p:cNvGrpSpPr/>
          <p:nvPr/>
        </p:nvGrpSpPr>
        <p:grpSpPr>
          <a:xfrm>
            <a:off x="4819308" y="3239561"/>
            <a:ext cx="2088956" cy="1807031"/>
            <a:chOff x="2769695" y="1643497"/>
            <a:chExt cx="2088956" cy="1807031"/>
          </a:xfrm>
        </p:grpSpPr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590A26ED-A796-AD48-5173-A666B9EEE685}"/>
                </a:ext>
              </a:extLst>
            </p:cNvPr>
            <p:cNvSpPr/>
            <p:nvPr/>
          </p:nvSpPr>
          <p:spPr>
            <a:xfrm>
              <a:off x="2769695" y="1643497"/>
              <a:ext cx="2088956" cy="1807031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5" name="Hexagon 4">
              <a:extLst>
                <a:ext uri="{FF2B5EF4-FFF2-40B4-BE49-F238E27FC236}">
                  <a16:creationId xmlns:a16="http://schemas.microsoft.com/office/drawing/2014/main" id="{0FF93578-4D02-1741-DA0C-39470E5F8357}"/>
                </a:ext>
              </a:extLst>
            </p:cNvPr>
            <p:cNvSpPr txBox="1"/>
            <p:nvPr/>
          </p:nvSpPr>
          <p:spPr>
            <a:xfrm>
              <a:off x="3115864" y="1942947"/>
              <a:ext cx="1396618" cy="12081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600" kern="1200"/>
                <a:t>What are the </a:t>
              </a:r>
              <a:r>
                <a:rPr lang="en-GB" sz="1600"/>
                <a:t>impact areas across org </a:t>
              </a:r>
              <a:r>
                <a:rPr lang="en-GB" sz="1600" kern="1200"/>
                <a:t>and benefits of addressing TD</a:t>
              </a:r>
              <a:r>
                <a:rPr lang="en-GB" sz="1600"/>
                <a:t>? </a:t>
              </a:r>
              <a:endParaRPr lang="en-GB" sz="1600" kern="120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28FE-2AE9-1FF0-E376-DF1BED9EC410}"/>
              </a:ext>
            </a:extLst>
          </p:cNvPr>
          <p:cNvGrpSpPr/>
          <p:nvPr/>
        </p:nvGrpSpPr>
        <p:grpSpPr>
          <a:xfrm>
            <a:off x="5011731" y="1597362"/>
            <a:ext cx="1711885" cy="1480981"/>
            <a:chOff x="2962118" y="0"/>
            <a:chExt cx="1711885" cy="1480981"/>
          </a:xfrm>
          <a:solidFill>
            <a:srgbClr val="009650"/>
          </a:solidFill>
        </p:grpSpPr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28BD8BBA-21B1-99A4-5162-2E6421E8A8D3}"/>
                </a:ext>
              </a:extLst>
            </p:cNvPr>
            <p:cNvSpPr/>
            <p:nvPr/>
          </p:nvSpPr>
          <p:spPr>
            <a:xfrm>
              <a:off x="2962118" y="0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3" name="Hexagon 6">
              <a:extLst>
                <a:ext uri="{FF2B5EF4-FFF2-40B4-BE49-F238E27FC236}">
                  <a16:creationId xmlns:a16="http://schemas.microsoft.com/office/drawing/2014/main" id="{E5CD3BF8-F7DB-F532-1F4B-1C633F73D1EB}"/>
                </a:ext>
              </a:extLst>
            </p:cNvPr>
            <p:cNvSpPr txBox="1"/>
            <p:nvPr/>
          </p:nvSpPr>
          <p:spPr>
            <a:xfrm>
              <a:off x="3245814" y="245430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Lowered Hosting cost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E96D2B-FB64-A062-C8C4-0970AE01827F}"/>
              </a:ext>
            </a:extLst>
          </p:cNvPr>
          <p:cNvGrpSpPr/>
          <p:nvPr/>
        </p:nvGrpSpPr>
        <p:grpSpPr>
          <a:xfrm>
            <a:off x="6581729" y="2508265"/>
            <a:ext cx="1711885" cy="1480981"/>
            <a:chOff x="4532116" y="910903"/>
            <a:chExt cx="1711885" cy="1480981"/>
          </a:xfrm>
          <a:solidFill>
            <a:srgbClr val="009650"/>
          </a:solidFill>
        </p:grpSpPr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26326065-6D61-17D7-6C2F-288D609002D9}"/>
                </a:ext>
              </a:extLst>
            </p:cNvPr>
            <p:cNvSpPr/>
            <p:nvPr/>
          </p:nvSpPr>
          <p:spPr>
            <a:xfrm>
              <a:off x="4532116" y="910903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1" name="Hexagon 8">
              <a:extLst>
                <a:ext uri="{FF2B5EF4-FFF2-40B4-BE49-F238E27FC236}">
                  <a16:creationId xmlns:a16="http://schemas.microsoft.com/office/drawing/2014/main" id="{42BAE55D-558C-D04D-56CE-EDDACE71CFFE}"/>
                </a:ext>
              </a:extLst>
            </p:cNvPr>
            <p:cNvSpPr txBox="1"/>
            <p:nvPr/>
          </p:nvSpPr>
          <p:spPr>
            <a:xfrm>
              <a:off x="4815812" y="1156333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Increased Dev productivity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EEC1139-17F6-FCF3-153F-7197A6FF9560}"/>
              </a:ext>
            </a:extLst>
          </p:cNvPr>
          <p:cNvGrpSpPr/>
          <p:nvPr/>
        </p:nvGrpSpPr>
        <p:grpSpPr>
          <a:xfrm>
            <a:off x="6581729" y="4298994"/>
            <a:ext cx="1711885" cy="1480981"/>
            <a:chOff x="4532116" y="2701632"/>
            <a:chExt cx="1711885" cy="1480981"/>
          </a:xfrm>
          <a:solidFill>
            <a:srgbClr val="009650"/>
          </a:solidFill>
        </p:grpSpPr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4E439F47-0650-FB87-DA09-C7BBED079545}"/>
                </a:ext>
              </a:extLst>
            </p:cNvPr>
            <p:cNvSpPr/>
            <p:nvPr/>
          </p:nvSpPr>
          <p:spPr>
            <a:xfrm>
              <a:off x="4532116" y="2701632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9" name="Hexagon 10">
              <a:extLst>
                <a:ext uri="{FF2B5EF4-FFF2-40B4-BE49-F238E27FC236}">
                  <a16:creationId xmlns:a16="http://schemas.microsoft.com/office/drawing/2014/main" id="{9B382363-4A5C-1FC7-5BCD-CA6467F70619}"/>
                </a:ext>
              </a:extLst>
            </p:cNvPr>
            <p:cNvSpPr txBox="1"/>
            <p:nvPr/>
          </p:nvSpPr>
          <p:spPr>
            <a:xfrm>
              <a:off x="4815812" y="2947062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Improved Tech and Org scalab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BB6FCDC-CC66-5619-198A-4E354855DC98}"/>
              </a:ext>
            </a:extLst>
          </p:cNvPr>
          <p:cNvGrpSpPr/>
          <p:nvPr/>
        </p:nvGrpSpPr>
        <p:grpSpPr>
          <a:xfrm>
            <a:off x="5011731" y="5210916"/>
            <a:ext cx="1711885" cy="1480981"/>
            <a:chOff x="2962118" y="3613554"/>
            <a:chExt cx="1711885" cy="1480981"/>
          </a:xfrm>
          <a:solidFill>
            <a:srgbClr val="009650"/>
          </a:solidFill>
        </p:grpSpPr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DAA1FED2-58F8-218D-8695-175FB7151C2E}"/>
                </a:ext>
              </a:extLst>
            </p:cNvPr>
            <p:cNvSpPr/>
            <p:nvPr/>
          </p:nvSpPr>
          <p:spPr>
            <a:xfrm>
              <a:off x="2962118" y="3613554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7" name="Hexagon 12">
              <a:extLst>
                <a:ext uri="{FF2B5EF4-FFF2-40B4-BE49-F238E27FC236}">
                  <a16:creationId xmlns:a16="http://schemas.microsoft.com/office/drawing/2014/main" id="{71F8C894-D21B-3A4E-F93F-443CEFC06E38}"/>
                </a:ext>
              </a:extLst>
            </p:cNvPr>
            <p:cNvSpPr txBox="1"/>
            <p:nvPr/>
          </p:nvSpPr>
          <p:spPr>
            <a:xfrm>
              <a:off x="3245814" y="3858984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Mitigated Security risk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BBC82C-49A1-D0E1-761E-3E34910F4089}"/>
              </a:ext>
            </a:extLst>
          </p:cNvPr>
          <p:cNvGrpSpPr/>
          <p:nvPr/>
        </p:nvGrpSpPr>
        <p:grpSpPr>
          <a:xfrm>
            <a:off x="3434445" y="4300013"/>
            <a:ext cx="1711885" cy="1480981"/>
            <a:chOff x="1384832" y="2702651"/>
            <a:chExt cx="1711885" cy="1480981"/>
          </a:xfrm>
          <a:solidFill>
            <a:srgbClr val="009650"/>
          </a:solidFill>
        </p:grpSpPr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E2A0E9AB-C291-4651-8661-90A9968CB60A}"/>
                </a:ext>
              </a:extLst>
            </p:cNvPr>
            <p:cNvSpPr/>
            <p:nvPr/>
          </p:nvSpPr>
          <p:spPr>
            <a:xfrm>
              <a:off x="1384832" y="2702651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607CE684-3270-AE0C-BA2E-9A4FA361C4AE}"/>
                </a:ext>
              </a:extLst>
            </p:cNvPr>
            <p:cNvSpPr txBox="1"/>
            <p:nvPr/>
          </p:nvSpPr>
          <p:spPr>
            <a:xfrm>
              <a:off x="1668528" y="2948081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Reduced Operational failure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39B97B1-4DD5-24D6-F13A-D6F4105EE765}"/>
              </a:ext>
            </a:extLst>
          </p:cNvPr>
          <p:cNvGrpSpPr/>
          <p:nvPr/>
        </p:nvGrpSpPr>
        <p:grpSpPr>
          <a:xfrm>
            <a:off x="3434445" y="2506227"/>
            <a:ext cx="1711885" cy="1480981"/>
            <a:chOff x="1384832" y="908865"/>
            <a:chExt cx="1711885" cy="1480981"/>
          </a:xfrm>
          <a:solidFill>
            <a:srgbClr val="009650"/>
          </a:solidFill>
        </p:grpSpPr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D9FCF73C-D447-FFEC-CE50-274DA7AC9F54}"/>
                </a:ext>
              </a:extLst>
            </p:cNvPr>
            <p:cNvSpPr/>
            <p:nvPr/>
          </p:nvSpPr>
          <p:spPr>
            <a:xfrm>
              <a:off x="1384832" y="908865"/>
              <a:ext cx="1711885" cy="1480981"/>
            </a:xfrm>
            <a:prstGeom prst="hexagon">
              <a:avLst>
                <a:gd name="adj" fmla="val 28570"/>
                <a:gd name="vf" fmla="val 115470"/>
              </a:avLst>
            </a:prstGeom>
            <a:grpFill/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Hexagon 16">
              <a:extLst>
                <a:ext uri="{FF2B5EF4-FFF2-40B4-BE49-F238E27FC236}">
                  <a16:creationId xmlns:a16="http://schemas.microsoft.com/office/drawing/2014/main" id="{A6151299-5706-52B6-A6CC-1FC53530E3FB}"/>
                </a:ext>
              </a:extLst>
            </p:cNvPr>
            <p:cNvSpPr txBox="1"/>
            <p:nvPr/>
          </p:nvSpPr>
          <p:spPr>
            <a:xfrm>
              <a:off x="1668528" y="1154295"/>
              <a:ext cx="1144493" cy="9901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kern="1200"/>
                <a:t>Lowered tech ops team costs</a:t>
              </a:r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0F23834F-C1EF-BA93-D560-8677F3F48141}"/>
              </a:ext>
            </a:extLst>
          </p:cNvPr>
          <p:cNvSpPr txBox="1">
            <a:spLocks/>
          </p:cNvSpPr>
          <p:nvPr/>
        </p:nvSpPr>
        <p:spPr>
          <a:xfrm>
            <a:off x="480377" y="6730"/>
            <a:ext cx="10800000" cy="98498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800"/>
              </a:spcBef>
            </a:pPr>
            <a:r>
              <a:rPr lang="en-GB" sz="2800"/>
              <a:t>Applicability to technical debt</a:t>
            </a:r>
            <a:endParaRPr lang="en-US" sz="28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98D80AA-65A6-047C-E185-742724C6CEFE}"/>
              </a:ext>
            </a:extLst>
          </p:cNvPr>
          <p:cNvSpPr/>
          <p:nvPr/>
        </p:nvSpPr>
        <p:spPr>
          <a:xfrm>
            <a:off x="226936" y="109417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C10CB4-FF55-AAA8-AAEB-44A5B5072F4E}"/>
              </a:ext>
            </a:extLst>
          </p:cNvPr>
          <p:cNvSpPr txBox="1"/>
          <p:nvPr/>
        </p:nvSpPr>
        <p:spPr>
          <a:xfrm>
            <a:off x="532936" y="1050843"/>
            <a:ext cx="11037655" cy="3693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dirty="0">
                <a:solidFill>
                  <a:schemeClr val="accent2"/>
                </a:solidFill>
                <a:ea typeface="+mn-lt"/>
                <a:cs typeface="+mn-lt"/>
              </a:rPr>
              <a:t>All orgs have technical debt. Mapping initiative to impact areas supports prioritisation</a:t>
            </a:r>
            <a:endParaRPr lang="en-GB" b="1" i="1" dirty="0">
              <a:solidFill>
                <a:schemeClr val="accent2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8489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2AE7FC4-17E2-8B9A-1879-5F33AF88CF8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32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2AE7FC4-17E2-8B9A-1879-5F33AF88C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981FEE46-3B48-3BAB-237B-7B8B1BBB83D0}"/>
              </a:ext>
            </a:extLst>
          </p:cNvPr>
          <p:cNvSpPr txBox="1"/>
          <p:nvPr/>
        </p:nvSpPr>
        <p:spPr>
          <a:xfrm>
            <a:off x="8381453" y="1851529"/>
            <a:ext cx="3744281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GB" sz="1600" b="1">
                <a:cs typeface="Arial"/>
              </a:rPr>
              <a:t>True impact not well understood </a:t>
            </a:r>
            <a:r>
              <a:rPr lang="en-GB" sz="1600">
                <a:cs typeface="Arial"/>
              </a:rPr>
              <a:t>– dispersed across org and often hidden from leaders – but has </a:t>
            </a:r>
            <a:r>
              <a:rPr lang="en-GB" sz="1600" b="1">
                <a:cs typeface="Arial"/>
              </a:rPr>
              <a:t>significant long term drag on productivity and operational costs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GB" sz="1600">
                <a:cs typeface="Arial"/>
              </a:rPr>
              <a:t>Significant development effort and difficult to prove ROI as impact can accrue across many area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12FFA73-06FD-DCE3-7FFE-CD68052F1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475" y="975018"/>
            <a:ext cx="5202426" cy="838426"/>
          </a:xfrm>
        </p:spPr>
        <p:txBody>
          <a:bodyPr vert="horz" anchor="t" anchorCtr="0"/>
          <a:lstStyle/>
          <a:p>
            <a:r>
              <a:rPr lang="en-GB" sz="2400">
                <a:solidFill>
                  <a:schemeClr val="tx1"/>
                </a:solidFill>
              </a:rPr>
              <a:t>Software companies carry technical debt that has substantial impac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E4D488C-0581-F677-A754-87E1DFB8931F}"/>
              </a:ext>
            </a:extLst>
          </p:cNvPr>
          <p:cNvCxnSpPr>
            <a:cxnSpLocks/>
          </p:cNvCxnSpPr>
          <p:nvPr/>
        </p:nvCxnSpPr>
        <p:spPr>
          <a:xfrm flipH="1">
            <a:off x="5845147" y="4326675"/>
            <a:ext cx="6322276" cy="0"/>
          </a:xfrm>
          <a:prstGeom prst="line">
            <a:avLst/>
          </a:prstGeom>
          <a:ln>
            <a:solidFill>
              <a:srgbClr val="616870">
                <a:alpha val="40952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A662EB0-3797-F99A-3996-0BD24C53C1E1}"/>
              </a:ext>
            </a:extLst>
          </p:cNvPr>
          <p:cNvCxnSpPr/>
          <p:nvPr/>
        </p:nvCxnSpPr>
        <p:spPr>
          <a:xfrm>
            <a:off x="5869724" y="0"/>
            <a:ext cx="0" cy="6858000"/>
          </a:xfrm>
          <a:prstGeom prst="line">
            <a:avLst/>
          </a:prstGeom>
          <a:ln>
            <a:solidFill>
              <a:srgbClr val="616870">
                <a:alpha val="40952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hought Bubble: Cloud 26">
            <a:extLst>
              <a:ext uri="{FF2B5EF4-FFF2-40B4-BE49-F238E27FC236}">
                <a16:creationId xmlns:a16="http://schemas.microsoft.com/office/drawing/2014/main" id="{97F1B0A7-42CC-7F71-B027-9CE6BCEDF2A9}"/>
              </a:ext>
            </a:extLst>
          </p:cNvPr>
          <p:cNvSpPr/>
          <p:nvPr/>
        </p:nvSpPr>
        <p:spPr>
          <a:xfrm>
            <a:off x="391887" y="2129815"/>
            <a:ext cx="2533348" cy="1394380"/>
          </a:xfrm>
          <a:prstGeom prst="cloudCallout">
            <a:avLst/>
          </a:prstGeom>
          <a:solidFill>
            <a:schemeClr val="accent4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Limited automated testing </a:t>
            </a:r>
            <a:r>
              <a:rPr lang="en-GB" sz="1400">
                <a:solidFill>
                  <a:schemeClr val="tx1"/>
                </a:solidFill>
              </a:rPr>
              <a:t>&amp; coverage - long release lead times</a:t>
            </a:r>
          </a:p>
        </p:txBody>
      </p:sp>
      <p:sp>
        <p:nvSpPr>
          <p:cNvPr id="30" name="Thought Bubble: Cloud 29">
            <a:extLst>
              <a:ext uri="{FF2B5EF4-FFF2-40B4-BE49-F238E27FC236}">
                <a16:creationId xmlns:a16="http://schemas.microsoft.com/office/drawing/2014/main" id="{8EA31682-9CE5-163A-1DBF-BBD8F5DC213A}"/>
              </a:ext>
            </a:extLst>
          </p:cNvPr>
          <p:cNvSpPr/>
          <p:nvPr/>
        </p:nvSpPr>
        <p:spPr>
          <a:xfrm>
            <a:off x="3080865" y="2129815"/>
            <a:ext cx="2533348" cy="1394380"/>
          </a:xfrm>
          <a:prstGeom prst="cloudCallout">
            <a:avLst/>
          </a:prstGeom>
          <a:solidFill>
            <a:schemeClr val="accent4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Monolithic architecture </a:t>
            </a:r>
            <a:r>
              <a:rPr lang="en-GB" sz="1400">
                <a:solidFill>
                  <a:schemeClr val="tx1"/>
                </a:solidFill>
              </a:rPr>
              <a:t>limiting </a:t>
            </a:r>
            <a:r>
              <a:rPr lang="en-GB" sz="1400" b="1">
                <a:solidFill>
                  <a:schemeClr val="tx1"/>
                </a:solidFill>
              </a:rPr>
              <a:t>scalability</a:t>
            </a:r>
          </a:p>
        </p:txBody>
      </p:sp>
      <p:sp>
        <p:nvSpPr>
          <p:cNvPr id="31" name="Thought Bubble: Cloud 30">
            <a:extLst>
              <a:ext uri="{FF2B5EF4-FFF2-40B4-BE49-F238E27FC236}">
                <a16:creationId xmlns:a16="http://schemas.microsoft.com/office/drawing/2014/main" id="{7E6F1828-6D35-BA97-5D55-7FD99825ABEF}"/>
              </a:ext>
            </a:extLst>
          </p:cNvPr>
          <p:cNvSpPr/>
          <p:nvPr/>
        </p:nvSpPr>
        <p:spPr>
          <a:xfrm>
            <a:off x="391887" y="3715426"/>
            <a:ext cx="2533348" cy="1394380"/>
          </a:xfrm>
          <a:prstGeom prst="cloudCallout">
            <a:avLst/>
          </a:prstGeom>
          <a:solidFill>
            <a:schemeClr val="accent4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Business logic embedded in database </a:t>
            </a:r>
            <a:r>
              <a:rPr lang="en-GB" sz="1400">
                <a:solidFill>
                  <a:schemeClr val="tx1"/>
                </a:solidFill>
              </a:rPr>
              <a:t>driving increased hosting costs</a:t>
            </a:r>
          </a:p>
        </p:txBody>
      </p:sp>
      <p:sp>
        <p:nvSpPr>
          <p:cNvPr id="32" name="Thought Bubble: Cloud 31">
            <a:extLst>
              <a:ext uri="{FF2B5EF4-FFF2-40B4-BE49-F238E27FC236}">
                <a16:creationId xmlns:a16="http://schemas.microsoft.com/office/drawing/2014/main" id="{7DD597E7-4563-A021-11FA-104EE163FC20}"/>
              </a:ext>
            </a:extLst>
          </p:cNvPr>
          <p:cNvSpPr/>
          <p:nvPr/>
        </p:nvSpPr>
        <p:spPr>
          <a:xfrm>
            <a:off x="3080865" y="3715426"/>
            <a:ext cx="2533348" cy="1394380"/>
          </a:xfrm>
          <a:prstGeom prst="cloudCallout">
            <a:avLst/>
          </a:prstGeom>
          <a:solidFill>
            <a:schemeClr val="accent4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Legacy acquired code </a:t>
            </a:r>
            <a:r>
              <a:rPr lang="en-GB" sz="1400">
                <a:solidFill>
                  <a:schemeClr val="tx1"/>
                </a:solidFill>
              </a:rPr>
              <a:t>in </a:t>
            </a:r>
            <a:r>
              <a:rPr lang="en-GB" sz="1400" b="1">
                <a:solidFill>
                  <a:schemeClr val="tx1"/>
                </a:solidFill>
              </a:rPr>
              <a:t>language that is difficult to suppor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D9C151-18A1-05F1-BFDE-D377B23ACFC6}"/>
              </a:ext>
            </a:extLst>
          </p:cNvPr>
          <p:cNvSpPr txBox="1"/>
          <p:nvPr/>
        </p:nvSpPr>
        <p:spPr>
          <a:xfrm>
            <a:off x="6009161" y="1848313"/>
            <a:ext cx="2066237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4400" b="1">
                <a:solidFill>
                  <a:schemeClr val="accent2"/>
                </a:solidFill>
                <a:latin typeface="+mj-lt"/>
                <a:cs typeface="Arial"/>
              </a:rPr>
              <a:t>15-30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0E7B519-6C28-5BB9-E7F6-7E898D26193E}"/>
              </a:ext>
            </a:extLst>
          </p:cNvPr>
          <p:cNvSpPr txBox="1"/>
          <p:nvPr/>
        </p:nvSpPr>
        <p:spPr>
          <a:xfrm>
            <a:off x="6089978" y="2414751"/>
            <a:ext cx="23248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>
                <a:cs typeface="Arial"/>
              </a:rPr>
              <a:t>Estimated drag on </a:t>
            </a:r>
            <a:r>
              <a:rPr lang="en-GB" sz="1600" b="1">
                <a:cs typeface="Arial"/>
              </a:rPr>
              <a:t>developer productivity</a:t>
            </a:r>
            <a:endParaRPr lang="en-GB" sz="1600"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A4B9CE-70D4-0C75-D3D0-CA7425E8249A}"/>
              </a:ext>
            </a:extLst>
          </p:cNvPr>
          <p:cNvSpPr txBox="1"/>
          <p:nvPr/>
        </p:nvSpPr>
        <p:spPr>
          <a:xfrm>
            <a:off x="6016219" y="3047603"/>
            <a:ext cx="2499795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4400" b="1">
                <a:solidFill>
                  <a:schemeClr val="accent2"/>
                </a:solidFill>
                <a:latin typeface="+mj-lt"/>
                <a:cs typeface="Arial"/>
              </a:rPr>
              <a:t>10-25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343579-649C-435B-3D47-13C59B4319F0}"/>
              </a:ext>
            </a:extLst>
          </p:cNvPr>
          <p:cNvSpPr txBox="1"/>
          <p:nvPr/>
        </p:nvSpPr>
        <p:spPr>
          <a:xfrm>
            <a:off x="6109616" y="3626315"/>
            <a:ext cx="248618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>
                <a:cs typeface="Arial"/>
              </a:rPr>
              <a:t>Additional spend on hosting costs</a:t>
            </a:r>
            <a:endParaRPr lang="en-GB" sz="1600">
              <a:cs typeface="Arial"/>
            </a:endParaRPr>
          </a:p>
        </p:txBody>
      </p:sp>
      <p:sp>
        <p:nvSpPr>
          <p:cNvPr id="41" name="Title 5">
            <a:extLst>
              <a:ext uri="{FF2B5EF4-FFF2-40B4-BE49-F238E27FC236}">
                <a16:creationId xmlns:a16="http://schemas.microsoft.com/office/drawing/2014/main" id="{1607B1AD-CABE-1E0C-38B6-F29BDF766158}"/>
              </a:ext>
            </a:extLst>
          </p:cNvPr>
          <p:cNvSpPr txBox="1">
            <a:spLocks/>
          </p:cNvSpPr>
          <p:nvPr/>
        </p:nvSpPr>
        <p:spPr>
          <a:xfrm>
            <a:off x="6031549" y="975017"/>
            <a:ext cx="6160450" cy="8935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>
                <a:solidFill>
                  <a:schemeClr val="tx1"/>
                </a:solidFill>
              </a:rPr>
              <a:t>There is significant value in addressing tech debt but it is challenging to prioritise</a:t>
            </a:r>
          </a:p>
        </p:txBody>
      </p:sp>
      <p:sp>
        <p:nvSpPr>
          <p:cNvPr id="43" name="Title 5">
            <a:extLst>
              <a:ext uri="{FF2B5EF4-FFF2-40B4-BE49-F238E27FC236}">
                <a16:creationId xmlns:a16="http://schemas.microsoft.com/office/drawing/2014/main" id="{3E1CF622-CB78-A83F-7107-8925B75EC66F}"/>
              </a:ext>
            </a:extLst>
          </p:cNvPr>
          <p:cNvSpPr txBox="1">
            <a:spLocks/>
          </p:cNvSpPr>
          <p:nvPr/>
        </p:nvSpPr>
        <p:spPr>
          <a:xfrm>
            <a:off x="6031548" y="4622348"/>
            <a:ext cx="6094191" cy="9058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>
                <a:solidFill>
                  <a:schemeClr val="tx1"/>
                </a:solidFill>
              </a:rPr>
              <a:t>AI tools are reducing the resources required and changing the ROI dynami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9E9CFD3-8332-5AA0-B01A-B3BCC752ABFE}"/>
              </a:ext>
            </a:extLst>
          </p:cNvPr>
          <p:cNvSpPr txBox="1"/>
          <p:nvPr/>
        </p:nvSpPr>
        <p:spPr>
          <a:xfrm>
            <a:off x="6031549" y="5611710"/>
            <a:ext cx="576882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GB" sz="1600">
                <a:cs typeface="Arial"/>
              </a:rPr>
              <a:t>Proper measurement and analysis can </a:t>
            </a:r>
            <a:r>
              <a:rPr lang="en-GB" sz="1600" b="1">
                <a:cs typeface="Arial"/>
              </a:rPr>
              <a:t>identify and unlock significant value</a:t>
            </a:r>
            <a:endParaRPr lang="en-GB" sz="1600">
              <a:solidFill>
                <a:srgbClr val="FF0000"/>
              </a:solidFill>
              <a:cs typeface="Arial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GB" sz="1600">
                <a:cs typeface="Arial"/>
              </a:rPr>
              <a:t>Substantially lower dev effort – can </a:t>
            </a:r>
            <a:r>
              <a:rPr lang="en-GB" sz="1600" b="1">
                <a:cs typeface="Arial"/>
              </a:rPr>
              <a:t>prove ROI with reduced investment and payback period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F31982-EB09-DE0E-55D5-B28B9A98D598}"/>
              </a:ext>
            </a:extLst>
          </p:cNvPr>
          <p:cNvSpPr txBox="1">
            <a:spLocks/>
          </p:cNvSpPr>
          <p:nvPr/>
        </p:nvSpPr>
        <p:spPr>
          <a:xfrm>
            <a:off x="344246" y="0"/>
            <a:ext cx="10800000" cy="98498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800"/>
              </a:spcBef>
            </a:pPr>
            <a:r>
              <a:rPr lang="en-GB" sz="2800"/>
              <a:t>The case for addressing technical debt</a:t>
            </a:r>
            <a:endParaRPr lang="en-US" sz="280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82188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0BC2B17D-F58E-9720-CE62-9A04EBC4E8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2B17D-F58E-9720-CE62-9A04EBC4E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D98D80AA-65A6-047C-E185-742724C6CEFE}"/>
              </a:ext>
            </a:extLst>
          </p:cNvPr>
          <p:cNvSpPr/>
          <p:nvPr/>
        </p:nvSpPr>
        <p:spPr>
          <a:xfrm>
            <a:off x="221257" y="1117007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2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D513BEC-16DB-7978-0FB4-78267969B2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0400963"/>
              </p:ext>
            </p:extLst>
          </p:nvPr>
        </p:nvGraphicFramePr>
        <p:xfrm>
          <a:off x="2003287" y="1804807"/>
          <a:ext cx="8185426" cy="49254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6C582F75-9109-CF7E-A08F-EF0DA6E8CFB9}"/>
              </a:ext>
            </a:extLst>
          </p:cNvPr>
          <p:cNvSpPr txBox="1"/>
          <p:nvPr/>
        </p:nvSpPr>
        <p:spPr>
          <a:xfrm>
            <a:off x="480377" y="1077006"/>
            <a:ext cx="11037655" cy="646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accent2"/>
                </a:solidFill>
                <a:ea typeface="+mn-lt"/>
                <a:cs typeface="+mn-lt"/>
              </a:rPr>
              <a:t>Focus on measurable benefits that can be translated to EBITDA impact or cost avoidance. AI supports reduced cost to resolve, faster time to resolve and improved ROI</a:t>
            </a:r>
            <a:endParaRPr lang="en-GB" b="1" i="1">
              <a:solidFill>
                <a:schemeClr val="accent2"/>
              </a:solidFill>
              <a:ea typeface="+mn-lt"/>
              <a:cs typeface="+mn-lt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2D54D1B-F985-349C-4D79-D5D0DCCF862E}"/>
              </a:ext>
            </a:extLst>
          </p:cNvPr>
          <p:cNvSpPr txBox="1">
            <a:spLocks/>
          </p:cNvSpPr>
          <p:nvPr/>
        </p:nvSpPr>
        <p:spPr>
          <a:xfrm>
            <a:off x="480377" y="6730"/>
            <a:ext cx="10800000" cy="98498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800"/>
              </a:spcBef>
            </a:pPr>
            <a:r>
              <a:rPr lang="en-GB" sz="2800"/>
              <a:t>Hg framework to prioritise technical debt</a:t>
            </a:r>
            <a:endParaRPr lang="en-US" sz="280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F981CB9-B456-E588-DC7E-20C5876A7254}"/>
              </a:ext>
            </a:extLst>
          </p:cNvPr>
          <p:cNvSpPr/>
          <p:nvPr/>
        </p:nvSpPr>
        <p:spPr>
          <a:xfrm>
            <a:off x="374257" y="3492154"/>
            <a:ext cx="1448274" cy="3175583"/>
          </a:xfrm>
          <a:prstGeom prst="round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>
                    <a:lumMod val="25000"/>
                  </a:schemeClr>
                </a:solidFill>
              </a:rPr>
              <a:t>Additional benefits as upside – reduced security risks and operational failures, improved scalability</a:t>
            </a:r>
          </a:p>
        </p:txBody>
      </p:sp>
    </p:spTree>
    <p:extLst>
      <p:ext uri="{BB962C8B-B14F-4D97-AF65-F5344CB8AC3E}">
        <p14:creationId xmlns:p14="http://schemas.microsoft.com/office/powerpoint/2010/main" val="3842725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13F59-A427-A231-6625-003B58E11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ctivity Effectivene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EFB379-D04A-C483-052B-B27EDA0E4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5B30A8-BD98-60B2-27C9-5463899A33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Rapidly evolving technology, view as of Jul 2023</a:t>
            </a:r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1FBF3F0C-035B-4AEA-8DB7-60969C8AA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731002"/>
              </p:ext>
            </p:extLst>
          </p:nvPr>
        </p:nvGraphicFramePr>
        <p:xfrm>
          <a:off x="288000" y="1309314"/>
          <a:ext cx="11081644" cy="434554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53210">
                  <a:extLst>
                    <a:ext uri="{9D8B030D-6E8A-4147-A177-3AD203B41FA5}">
                      <a16:colId xmlns:a16="http://schemas.microsoft.com/office/drawing/2014/main" val="3685685770"/>
                    </a:ext>
                  </a:extLst>
                </a:gridCol>
                <a:gridCol w="1449421">
                  <a:extLst>
                    <a:ext uri="{9D8B030D-6E8A-4147-A177-3AD203B41FA5}">
                      <a16:colId xmlns:a16="http://schemas.microsoft.com/office/drawing/2014/main" val="2767549001"/>
                    </a:ext>
                  </a:extLst>
                </a:gridCol>
                <a:gridCol w="1167319">
                  <a:extLst>
                    <a:ext uri="{9D8B030D-6E8A-4147-A177-3AD203B41FA5}">
                      <a16:colId xmlns:a16="http://schemas.microsoft.com/office/drawing/2014/main" val="2825725402"/>
                    </a:ext>
                  </a:extLst>
                </a:gridCol>
                <a:gridCol w="1089498">
                  <a:extLst>
                    <a:ext uri="{9D8B030D-6E8A-4147-A177-3AD203B41FA5}">
                      <a16:colId xmlns:a16="http://schemas.microsoft.com/office/drawing/2014/main" val="1098420393"/>
                    </a:ext>
                  </a:extLst>
                </a:gridCol>
                <a:gridCol w="1381327">
                  <a:extLst>
                    <a:ext uri="{9D8B030D-6E8A-4147-A177-3AD203B41FA5}">
                      <a16:colId xmlns:a16="http://schemas.microsoft.com/office/drawing/2014/main" val="1976780163"/>
                    </a:ext>
                  </a:extLst>
                </a:gridCol>
                <a:gridCol w="1138137">
                  <a:extLst>
                    <a:ext uri="{9D8B030D-6E8A-4147-A177-3AD203B41FA5}">
                      <a16:colId xmlns:a16="http://schemas.microsoft.com/office/drawing/2014/main" val="922274535"/>
                    </a:ext>
                  </a:extLst>
                </a:gridCol>
                <a:gridCol w="1274323">
                  <a:extLst>
                    <a:ext uri="{9D8B030D-6E8A-4147-A177-3AD203B41FA5}">
                      <a16:colId xmlns:a16="http://schemas.microsoft.com/office/drawing/2014/main" val="3105969707"/>
                    </a:ext>
                  </a:extLst>
                </a:gridCol>
                <a:gridCol w="1128409">
                  <a:extLst>
                    <a:ext uri="{9D8B030D-6E8A-4147-A177-3AD203B41FA5}">
                      <a16:colId xmlns:a16="http://schemas.microsoft.com/office/drawing/2014/main" val="1683603367"/>
                    </a:ext>
                  </a:extLst>
                </a:gridCol>
              </a:tblGrid>
              <a:tr h="412737">
                <a:tc rowSpan="3">
                  <a:txBody>
                    <a:bodyPr/>
                    <a:lstStyle/>
                    <a:p>
                      <a:r>
                        <a:rPr lang="en-US" sz="1400" b="1"/>
                        <a:t>Activity</a:t>
                      </a:r>
                      <a:endParaRPr lang="en-CA" sz="14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400" b="1"/>
                        <a:t>Activity </a:t>
                      </a:r>
                    </a:p>
                    <a:p>
                      <a:r>
                        <a:rPr lang="en-US" sz="1400" b="1"/>
                        <a:t>Type</a:t>
                      </a:r>
                      <a:endParaRPr lang="en-CA" sz="14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Engineer Level</a:t>
                      </a:r>
                      <a:endParaRPr lang="en-CA" sz="14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889807"/>
                  </a:ext>
                </a:extLst>
              </a:tr>
              <a:tr h="270449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Senior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Middle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Junior 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728258"/>
                  </a:ext>
                </a:extLst>
              </a:tr>
              <a:tr h="270449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ffectiveness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Time Spent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ffectiveness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Time Spent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ffectiveness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Time Spent</a:t>
                      </a:r>
                      <a:endParaRPr lang="en-CA" sz="12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8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685787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System Design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Code Analysis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Lo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25605446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Generate documentation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Code Analysis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High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Very High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Very Short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24738246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Understand code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Code Analysis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igh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High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Short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570163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Perform code review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/>
                        <a:t>Code Analysis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Very High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Short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High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658796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Create code prototypes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Codi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Very High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Short</a:t>
                      </a:r>
                      <a:endParaRPr lang="en-CA" sz="1200" b="1" i="0" u="none" strike="noStrike" cap="none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30839239"/>
                  </a:ext>
                </a:extLst>
              </a:tr>
              <a:tr h="330176">
                <a:tc>
                  <a:txBody>
                    <a:bodyPr/>
                    <a:lstStyle/>
                    <a:p>
                      <a:r>
                        <a:rPr lang="en-US" sz="1200" b="1"/>
                        <a:t>Refactor code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Codi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igh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753605761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Write unit tests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Codi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Long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480534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Write new code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Codi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ig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Long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Medium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Very Long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C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892698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Write code for infrastructure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Coding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Low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85419"/>
                  </a:ext>
                </a:extLst>
              </a:tr>
              <a:tr h="339332">
                <a:tc>
                  <a:txBody>
                    <a:bodyPr/>
                    <a:lstStyle/>
                    <a:p>
                      <a:r>
                        <a:rPr lang="en-US" sz="1200" b="1"/>
                        <a:t>Shell scripting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/>
                        <a:t>Other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Very High</a:t>
                      </a:r>
                      <a:endParaRPr lang="en-CA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Very Short</a:t>
                      </a:r>
                      <a:endParaRPr lang="en-CA" sz="1200" b="1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9C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edium</a:t>
                      </a:r>
                      <a:endParaRPr lang="en-CA" sz="12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ery Short</a:t>
                      </a:r>
                      <a:endParaRPr lang="en-CA" sz="12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42662626"/>
                  </a:ext>
                </a:extLst>
              </a:tr>
            </a:tbl>
          </a:graphicData>
        </a:graphic>
      </p:graphicFrame>
      <p:graphicFrame>
        <p:nvGraphicFramePr>
          <p:cNvPr id="10" name="Table 12">
            <a:extLst>
              <a:ext uri="{FF2B5EF4-FFF2-40B4-BE49-F238E27FC236}">
                <a16:creationId xmlns:a16="http://schemas.microsoft.com/office/drawing/2014/main" id="{963BE7BE-7FF5-2092-B5A3-6B92B7F06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268263"/>
              </p:ext>
            </p:extLst>
          </p:nvPr>
        </p:nvGraphicFramePr>
        <p:xfrm>
          <a:off x="8964370" y="5814000"/>
          <a:ext cx="2405274" cy="316851"/>
        </p:xfrm>
        <a:graphic>
          <a:graphicData uri="http://schemas.openxmlformats.org/drawingml/2006/table">
            <a:tbl>
              <a:tblPr firstRow="1" bandRow="1"/>
              <a:tblGrid>
                <a:gridCol w="2405274">
                  <a:extLst>
                    <a:ext uri="{9D8B030D-6E8A-4147-A177-3AD203B41FA5}">
                      <a16:colId xmlns:a16="http://schemas.microsoft.com/office/drawing/2014/main" val="4022978100"/>
                    </a:ext>
                  </a:extLst>
                </a:gridCol>
              </a:tblGrid>
              <a:tr h="316851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latin typeface="+mn-lt"/>
                        </a:rPr>
                        <a:t>Focus Areas</a:t>
                      </a:r>
                      <a:endParaRPr lang="en-CA" sz="1200" b="1">
                        <a:latin typeface="+mn-lt"/>
                      </a:endParaRPr>
                    </a:p>
                  </a:txBody>
                  <a:tcPr anchor="ctr">
                    <a:solidFill>
                      <a:srgbClr val="F9C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282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962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vent focus area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48782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56B406-A69D-01D5-730C-8E6DADF82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ocus exploration activiti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6349969-8011-AAA1-963E-891ABB1C2F64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402152078"/>
              </p:ext>
            </p:extLst>
          </p:nvPr>
        </p:nvGraphicFramePr>
        <p:xfrm>
          <a:off x="287338" y="1520825"/>
          <a:ext cx="11614149" cy="4272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1383">
                  <a:extLst>
                    <a:ext uri="{9D8B030D-6E8A-4147-A177-3AD203B41FA5}">
                      <a16:colId xmlns:a16="http://schemas.microsoft.com/office/drawing/2014/main" val="1039208590"/>
                    </a:ext>
                  </a:extLst>
                </a:gridCol>
                <a:gridCol w="3871383">
                  <a:extLst>
                    <a:ext uri="{9D8B030D-6E8A-4147-A177-3AD203B41FA5}">
                      <a16:colId xmlns:a16="http://schemas.microsoft.com/office/drawing/2014/main" val="272687045"/>
                    </a:ext>
                  </a:extLst>
                </a:gridCol>
                <a:gridCol w="3871383">
                  <a:extLst>
                    <a:ext uri="{9D8B030D-6E8A-4147-A177-3AD203B41FA5}">
                      <a16:colId xmlns:a16="http://schemas.microsoft.com/office/drawing/2014/main" val="40732876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The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/>
                        <a:t>Go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874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Single tenant architecture of Q-Pulse drives elevated hosting costs due to </a:t>
                      </a:r>
                      <a:r>
                        <a:rPr lang="en-GB" sz="1700" dirty="0" err="1"/>
                        <a:t>inefficienct</a:t>
                      </a:r>
                      <a:r>
                        <a:rPr lang="en-GB" sz="1700" dirty="0"/>
                        <a:t> use of resources and limits elastic sc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Retrofit multi-tenancy to application lay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Retrofit multi-tenancy to database schem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Isolate state from app tier enabling elastic sca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Validate efficacy of AI to support retrofit of multi-tenancy at each application lay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Quantify reduction in effort through use of AI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700" dirty="0"/>
                        <a:t>Quantify reduction in hosting cos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12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Storage of attachments within database rather than blob storage drives increased co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Develop migration tool to extract client storage from 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Migrate storage to intelligent tier (low cost) blob stor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Quantify reduction in storage cos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763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Business logic within database and use of MS SQL Server drives higher hosting costs than open source cloud alterna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Migrate logic from database to application tier for improved scalability and option to use lower cost database 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Validate efficacy of AI to support migration of </a:t>
                      </a:r>
                      <a:r>
                        <a:rPr lang="en-GB" sz="1700" dirty="0" err="1"/>
                        <a:t>db</a:t>
                      </a:r>
                      <a:r>
                        <a:rPr lang="en-GB" sz="1700" dirty="0"/>
                        <a:t> logic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/>
                        <a:t>Quantify reduction in effort through use of AI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700" dirty="0"/>
                        <a:t>Quantify reduction in hosting cos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9859545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FB94AA-1B66-D534-F569-DBE9F93FEF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efactoring Q-Pulse application to optimise use of cloud resources and resulting costs</a:t>
            </a:r>
          </a:p>
        </p:txBody>
      </p:sp>
    </p:spTree>
    <p:extLst>
      <p:ext uri="{BB962C8B-B14F-4D97-AF65-F5344CB8AC3E}">
        <p14:creationId xmlns:p14="http://schemas.microsoft.com/office/powerpoint/2010/main" val="38367144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Approach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648107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FA9C19-2135-724C-1613-9349AE517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FA9C19-2135-724C-1613-9349AE517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47">
            <a:extLst>
              <a:ext uri="{FF2B5EF4-FFF2-40B4-BE49-F238E27FC236}">
                <a16:creationId xmlns:a16="http://schemas.microsoft.com/office/drawing/2014/main" id="{485FD7B2-FB92-815C-45F0-FCCA05431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3" y="1475804"/>
            <a:ext cx="3942516" cy="676298"/>
          </a:xfrm>
          <a:prstGeom prst="homePlate">
            <a:avLst>
              <a:gd name="adj" fmla="val 36303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63928" tIns="0" rIns="0" bIns="0" anchor="ctr">
            <a:noAutofit/>
          </a:bodyPr>
          <a:lstStyle/>
          <a:p>
            <a:pPr algn="ctr" defTabSz="883882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SimonKucher" pitchFamily="2" charset="0"/>
            </a:pPr>
            <a:r>
              <a:rPr lang="en-GB" b="1">
                <a:solidFill>
                  <a:srgbClr val="FFFFFF"/>
                </a:solidFill>
                <a:sym typeface="SimonKucher" pitchFamily="2" charset="0"/>
              </a:rPr>
              <a:t>Tool setup &amp; solution design</a:t>
            </a:r>
          </a:p>
        </p:txBody>
      </p:sp>
      <p:sp>
        <p:nvSpPr>
          <p:cNvPr id="8" name="AutoShape 38">
            <a:extLst>
              <a:ext uri="{FF2B5EF4-FFF2-40B4-BE49-F238E27FC236}">
                <a16:creationId xmlns:a16="http://schemas.microsoft.com/office/drawing/2014/main" id="{6412EBE6-B8E1-E426-8024-4B16322734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694" y="1472602"/>
            <a:ext cx="3893340" cy="679500"/>
          </a:xfrm>
          <a:prstGeom prst="chevron">
            <a:avLst>
              <a:gd name="adj" fmla="val 36637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63928" tIns="0" rIns="0" bIns="0" anchor="ctr">
            <a:noAutofit/>
          </a:bodyPr>
          <a:lstStyle/>
          <a:p>
            <a:pPr algn="ctr" defTabSz="883882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SimonKucher" pitchFamily="2" charset="0"/>
            </a:pPr>
            <a:r>
              <a:rPr lang="en-GB" b="1">
                <a:solidFill>
                  <a:srgbClr val="FFFFFF"/>
                </a:solidFill>
                <a:sym typeface="SimonKucher" pitchFamily="2" charset="0"/>
              </a:rPr>
              <a:t>Exploration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1B7BBC78-63BD-CFE6-3ABA-CA18848813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2455" y="2235911"/>
            <a:ext cx="3672000" cy="29837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36000" tIns="36000" rIns="36000" bIns="36000" anchor="t" anchorCtr="0"/>
          <a:lstStyle/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39322B"/>
                </a:solidFill>
              </a:rPr>
              <a:t>Use AI tooling to perform planned activity</a:t>
            </a: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39322B"/>
                </a:solidFill>
              </a:rPr>
              <a:t>Assess efficacy and output quality for each task</a:t>
            </a: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39322B"/>
                </a:solidFill>
              </a:rPr>
              <a:t>Explore impact of fine tuning (if needed)</a:t>
            </a: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39322B"/>
                </a:solidFill>
              </a:rPr>
              <a:t>Develop (basic) automation for bulk activities</a:t>
            </a:r>
          </a:p>
        </p:txBody>
      </p:sp>
      <p:sp>
        <p:nvSpPr>
          <p:cNvPr id="4" name="AutoShape 38">
            <a:extLst>
              <a:ext uri="{FF2B5EF4-FFF2-40B4-BE49-F238E27FC236}">
                <a16:creationId xmlns:a16="http://schemas.microsoft.com/office/drawing/2014/main" id="{88200F8F-B90B-3AEF-EC9E-717DBEFBA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6874" y="1468922"/>
            <a:ext cx="3893340" cy="679500"/>
          </a:xfrm>
          <a:prstGeom prst="chevron">
            <a:avLst>
              <a:gd name="adj" fmla="val 36637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63928" tIns="0" rIns="0" bIns="0" anchor="ctr">
            <a:noAutofit/>
          </a:bodyPr>
          <a:lstStyle/>
          <a:p>
            <a:pPr algn="ctr" defTabSz="883882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SimonKucher" pitchFamily="2" charset="0"/>
            </a:pPr>
            <a:r>
              <a:rPr lang="en-GB" b="1">
                <a:solidFill>
                  <a:srgbClr val="FFFFFF"/>
                </a:solidFill>
                <a:sym typeface="SimonKucher" pitchFamily="2" charset="0"/>
              </a:rPr>
              <a:t>Review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ED6C8A5-FD0C-E265-84A2-47E65A1B82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6873" y="2235911"/>
            <a:ext cx="3707144" cy="29837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36000" tIns="36000" rIns="36000" bIns="36000" anchor="t" anchorCtr="0"/>
          <a:lstStyle/>
          <a:p>
            <a:pPr marL="428625" indent="-285750" defTabSz="883882">
              <a:spcBef>
                <a:spcPct val="50000"/>
              </a:spcBef>
              <a:spcAft>
                <a:spcPts val="544"/>
              </a:spcAft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  <a:sym typeface="SimonKucher" pitchFamily="2" charset="0"/>
              </a:rPr>
              <a:t>Group playback &amp; learnings</a:t>
            </a:r>
          </a:p>
          <a:p>
            <a:pPr marL="428625" indent="-285750" defTabSz="883882">
              <a:spcBef>
                <a:spcPct val="50000"/>
              </a:spcBef>
              <a:spcAft>
                <a:spcPts val="544"/>
              </a:spcAft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  <a:sym typeface="SimonKucher" pitchFamily="2" charset="0"/>
              </a:rPr>
              <a:t>Re-estimate activities based on exploration learnings</a:t>
            </a:r>
          </a:p>
          <a:p>
            <a:pPr marL="428625" indent="-285750" defTabSz="883882">
              <a:spcBef>
                <a:spcPct val="50000"/>
              </a:spcBef>
              <a:spcAft>
                <a:spcPts val="544"/>
              </a:spcAft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  <a:sym typeface="SimonKucher" pitchFamily="2" charset="0"/>
              </a:rPr>
              <a:t>Next steps to convert experiments to impact</a:t>
            </a:r>
          </a:p>
          <a:p>
            <a:pPr marL="428625" indent="-285750" defTabSz="883882">
              <a:spcBef>
                <a:spcPct val="50000"/>
              </a:spcBef>
              <a:spcAft>
                <a:spcPts val="544"/>
              </a:spcAft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  <a:sym typeface="SimonKucher" pitchFamily="2" charset="0"/>
              </a:rPr>
              <a:t>Wider use cases to consider?</a:t>
            </a:r>
            <a:endParaRPr lang="en-GB">
              <a:solidFill>
                <a:srgbClr val="39322B"/>
              </a:solidFill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574D6408-7C1E-0CC6-E2A9-97388C2DB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3" y="2235910"/>
            <a:ext cx="3707143" cy="29837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36000" tIns="36000" rIns="36000" bIns="36000" anchor="t" anchorCtr="0"/>
          <a:lstStyle/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</a:rPr>
              <a:t>Access to coding assistants + LLM Service + local </a:t>
            </a:r>
            <a:r>
              <a:rPr lang="en-GB" err="1">
                <a:solidFill>
                  <a:srgbClr val="39322B"/>
                </a:solidFill>
              </a:rPr>
              <a:t>Langchain</a:t>
            </a:r>
            <a:endParaRPr lang="en-GB">
              <a:solidFill>
                <a:srgbClr val="39322B"/>
              </a:solidFill>
            </a:endParaRP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</a:rPr>
              <a:t>Design minimum viable solution for each activity</a:t>
            </a: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</a:rPr>
              <a:t>Estimate activities against current team baselines</a:t>
            </a:r>
          </a:p>
          <a:p>
            <a:pPr marL="428625" indent="-285750" defTabSz="883882" eaLnBrk="0" fontAlgn="ctr" hangingPunct="0">
              <a:spcBef>
                <a:spcPct val="50000"/>
              </a:spcBef>
              <a:spcAft>
                <a:spcPts val="544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n-GB">
                <a:solidFill>
                  <a:srgbClr val="39322B"/>
                </a:solidFill>
              </a:rPr>
              <a:t>Agree measures for activity succes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F13E415-E5DD-55D0-7549-EFDA1DC5C989}"/>
              </a:ext>
            </a:extLst>
          </p:cNvPr>
          <p:cNvSpPr/>
          <p:nvPr/>
        </p:nvSpPr>
        <p:spPr>
          <a:xfrm>
            <a:off x="288000" y="1339578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77D846-A4CD-FA54-68F1-DA4717816C5F}"/>
              </a:ext>
            </a:extLst>
          </p:cNvPr>
          <p:cNvSpPr/>
          <p:nvPr/>
        </p:nvSpPr>
        <p:spPr>
          <a:xfrm>
            <a:off x="4234815" y="1339578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FF5CDFA-1489-0B41-139F-A4D645850C9A}"/>
              </a:ext>
            </a:extLst>
          </p:cNvPr>
          <p:cNvSpPr/>
          <p:nvPr/>
        </p:nvSpPr>
        <p:spPr>
          <a:xfrm>
            <a:off x="8028630" y="1339578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7CA8496-7428-E4EB-A26F-453ACE00D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93618"/>
            <a:ext cx="10800000" cy="574675"/>
          </a:xfrm>
        </p:spPr>
        <p:txBody>
          <a:bodyPr vert="horz"/>
          <a:lstStyle/>
          <a:p>
            <a:r>
              <a:rPr lang="en-GB" sz="2800" err="1"/>
              <a:t>GenAI</a:t>
            </a:r>
            <a:r>
              <a:rPr lang="en-GB" sz="2800"/>
              <a:t> Exploration Workshop format</a:t>
            </a:r>
          </a:p>
        </p:txBody>
      </p:sp>
    </p:spTree>
    <p:extLst>
      <p:ext uri="{BB962C8B-B14F-4D97-AF65-F5344CB8AC3E}">
        <p14:creationId xmlns:p14="http://schemas.microsoft.com/office/powerpoint/2010/main" val="40932449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E9601-CE94-B978-1823-95313A397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arget state Archite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25CD1D-41B1-FDDB-DA38-54BD7D05F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F42702-0FC8-8403-7D78-A5DFA2873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C6C90B-8073-003B-DE2C-EBBE1C2ADF5E}"/>
              </a:ext>
            </a:extLst>
          </p:cNvPr>
          <p:cNvSpPr txBox="1"/>
          <p:nvPr/>
        </p:nvSpPr>
        <p:spPr>
          <a:xfrm>
            <a:off x="2165350" y="3194050"/>
            <a:ext cx="7636321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GB" sz="1600"/>
              <a:t>Placeholder for target state architecture &amp; design approach if defined in advance</a:t>
            </a:r>
          </a:p>
        </p:txBody>
      </p:sp>
    </p:spTree>
    <p:extLst>
      <p:ext uri="{BB962C8B-B14F-4D97-AF65-F5344CB8AC3E}">
        <p14:creationId xmlns:p14="http://schemas.microsoft.com/office/powerpoint/2010/main" val="23547552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itle">
            <a:extLst>
              <a:ext uri="{FF2B5EF4-FFF2-40B4-BE49-F238E27FC236}">
                <a16:creationId xmlns:a16="http://schemas.microsoft.com/office/drawing/2014/main" id="{556FA651-DCDF-8532-DD1D-CD96908BDE7F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1227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ebt Busters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ckathon 2023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3" name="Picture Placeholder 17" descr="A superhero holding a hammer&#10;&#10;Description automatically generated">
            <a:extLst>
              <a:ext uri="{FF2B5EF4-FFF2-40B4-BE49-F238E27FC236}">
                <a16:creationId xmlns:a16="http://schemas.microsoft.com/office/drawing/2014/main" id="{C705285D-5E54-1B95-AA0B-56BAE0D2923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495807" y="2925302"/>
            <a:ext cx="2160207" cy="21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141888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85B3D04-6C12-6E02-987A-F182AF3495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5B3D04-6C12-6E02-987A-F182AF349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3FA029AD-B23D-F6C8-DDAB-EBE7705ED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107889"/>
              </p:ext>
            </p:extLst>
          </p:nvPr>
        </p:nvGraphicFramePr>
        <p:xfrm>
          <a:off x="1225358" y="1760411"/>
          <a:ext cx="9741284" cy="3058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459">
                  <a:extLst>
                    <a:ext uri="{9D8B030D-6E8A-4147-A177-3AD203B41FA5}">
                      <a16:colId xmlns:a16="http://schemas.microsoft.com/office/drawing/2014/main" val="301937589"/>
                    </a:ext>
                  </a:extLst>
                </a:gridCol>
                <a:gridCol w="1149350">
                  <a:extLst>
                    <a:ext uri="{9D8B030D-6E8A-4147-A177-3AD203B41FA5}">
                      <a16:colId xmlns:a16="http://schemas.microsoft.com/office/drawing/2014/main" val="2133189742"/>
                    </a:ext>
                  </a:extLst>
                </a:gridCol>
                <a:gridCol w="1733550">
                  <a:extLst>
                    <a:ext uri="{9D8B030D-6E8A-4147-A177-3AD203B41FA5}">
                      <a16:colId xmlns:a16="http://schemas.microsoft.com/office/drawing/2014/main" val="4113329133"/>
                    </a:ext>
                  </a:extLst>
                </a:gridCol>
                <a:gridCol w="5396925">
                  <a:extLst>
                    <a:ext uri="{9D8B030D-6E8A-4147-A177-3AD203B41FA5}">
                      <a16:colId xmlns:a16="http://schemas.microsoft.com/office/drawing/2014/main" val="3426140692"/>
                    </a:ext>
                  </a:extLst>
                </a:gridCol>
              </a:tblGrid>
              <a:tr h="365997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/>
                          </a:solidFill>
                          <a:latin typeface="+mn-lt"/>
                        </a:rPr>
                        <a:t>Da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  <a:latin typeface="+mn-lt"/>
                        </a:rPr>
                        <a:t>Tim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  <a:latin typeface="+mn-lt"/>
                        </a:rPr>
                        <a:t>Durati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ivit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0663538"/>
                  </a:ext>
                </a:extLst>
              </a:tr>
              <a:tr h="331140"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uesda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rn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9.00 - 10.0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AI</a:t>
                      </a:r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Developer enablement background &amp; approach to workshop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734349"/>
                  </a:ext>
                </a:extLst>
              </a:tr>
              <a:tr h="331140"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uesda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rn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10.00 – 12.3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arget state architecture definition &amp; siz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17701"/>
                  </a:ext>
                </a:extLst>
              </a:tr>
              <a:tr h="557710">
                <a:tc>
                  <a:txBody>
                    <a:bodyPr/>
                    <a:lstStyle/>
                    <a:p>
                      <a:pPr algn="l"/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uesday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fterno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13.30 – 17.0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AI</a:t>
                      </a:r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exploration and use case develop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nd of day group review, demo &amp; </a:t>
                      </a:r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earning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229947"/>
                  </a:ext>
                </a:extLst>
              </a:tr>
              <a:tr h="331140"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ednesday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ll Da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9.00 – 17.0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ntinue </a:t>
                      </a:r>
                      <a:r>
                        <a:rPr lang="en-GB" sz="12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AI</a:t>
                      </a:r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exploration and use case develop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nd of day group review, demo &amp; </a:t>
                      </a:r>
                      <a:r>
                        <a:rPr lang="en-GB" sz="1200" b="0" i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earning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4363170"/>
                  </a:ext>
                </a:extLst>
              </a:tr>
              <a:tr h="331140">
                <a:tc>
                  <a:txBody>
                    <a:bodyPr/>
                    <a:lstStyle/>
                    <a:p>
                      <a:pPr algn="l"/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hursday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orn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9.00 – 12.3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Finalise </a:t>
                      </a:r>
                      <a:r>
                        <a:rPr lang="en-GB" sz="1200" i="1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AI</a:t>
                      </a:r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exploration</a:t>
                      </a:r>
                    </a:p>
                    <a:p>
                      <a:pPr algn="l"/>
                      <a:r>
                        <a:rPr lang="en-GB" sz="1200" i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ummarise conclusions of each use case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1993069"/>
                  </a:ext>
                </a:extLst>
              </a:tr>
              <a:tr h="557710"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hursday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fterno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13.30 – 17.00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roup review of </a:t>
                      </a:r>
                      <a:r>
                        <a:rPr lang="en-GB" sz="12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AI</a:t>
                      </a:r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effectiveness</a:t>
                      </a:r>
                    </a:p>
                    <a:p>
                      <a:pPr algn="l"/>
                      <a:r>
                        <a:rPr lang="en-GB" sz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Next steps action planning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26829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D2D055B-B9DC-AF13-E7D3-CB533E18D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orkshop Plan</a:t>
            </a:r>
            <a:endParaRPr lang="en-GB" b="0"/>
          </a:p>
        </p:txBody>
      </p:sp>
    </p:spTree>
    <p:extLst>
      <p:ext uri="{BB962C8B-B14F-4D97-AF65-F5344CB8AC3E}">
        <p14:creationId xmlns:p14="http://schemas.microsoft.com/office/powerpoint/2010/main" val="3329937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20F91003-C385-0FDD-709F-721E0928FCD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-914300000" t="-380933333" b="33333"/>
          <a:stretch/>
        </p:blipFill>
        <p:spPr>
          <a:xfrm>
            <a:off x="4758618" y="-1"/>
            <a:ext cx="7433382" cy="9850135"/>
          </a:xfrm>
        </p:spPr>
      </p:pic>
      <p:graphicFrame>
        <p:nvGraphicFramePr>
          <p:cNvPr id="4" name="Title 1">
            <a:extLst>
              <a:ext uri="{FF2B5EF4-FFF2-40B4-BE49-F238E27FC236}">
                <a16:creationId xmlns:a16="http://schemas.microsoft.com/office/drawing/2014/main" id="{42AFE0FA-700F-BE35-6547-0AE049AC8C76}"/>
              </a:ext>
            </a:extLst>
          </p:cNvPr>
          <p:cNvGraphicFramePr>
            <a:graphicFrameLocks noGrp="1"/>
          </p:cNvGraphicFramePr>
          <p:nvPr/>
        </p:nvGraphicFramePr>
        <p:xfrm>
          <a:off x="0" y="3000837"/>
          <a:ext cx="5709683" cy="1318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ebt Buster</a:t>
                      </a:r>
                      <a:endParaRPr lang="en-US" sz="24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44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am members</a:t>
                      </a:r>
                      <a:endParaRPr lang="en-GB" sz="440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B1D1394-07C9-2B5F-0833-917017B47F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5404" y="888079"/>
            <a:ext cx="1066800" cy="21812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C0DD9C-C4BE-521C-C2CC-A0499DDC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8207" y="0"/>
            <a:ext cx="3" cy="6858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989FECE-F152-63A4-F104-00426CC125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6001" y="3917161"/>
            <a:ext cx="1084002" cy="180909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2008C9-6359-3B38-3587-5DCCEC3D33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1851" y="2209682"/>
            <a:ext cx="1615580" cy="48010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7F971E0-74D3-C358-D1F8-9D95ABB70A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2760" y="1253482"/>
            <a:ext cx="2339543" cy="54868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56C2FB4-754B-8BDB-9E55-923A3FCD0D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33942" y="1131744"/>
            <a:ext cx="1676545" cy="47248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79D8DBC-083B-4EBD-1249-B6837AB526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0007" y="2067712"/>
            <a:ext cx="1737511" cy="5105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A94A65C-DEA9-317E-BD90-D868F52B6C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33942" y="3181328"/>
            <a:ext cx="2400508" cy="49534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22D2334-0890-B463-6282-30CCF55C073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0003" y="4226873"/>
            <a:ext cx="1950889" cy="41913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5DD9C84-68A1-3D5C-F114-C4D089FE62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70003" y="5062593"/>
            <a:ext cx="1798476" cy="47248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B43C2A1-B130-F4E6-635D-8AE75EEC8B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95998" y="3428994"/>
            <a:ext cx="4" cy="1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690BACE-DE9F-A541-33A6-7820827435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95998" y="3428994"/>
            <a:ext cx="4" cy="1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34DE599-4C0F-BDE8-B9E8-ED19B35A381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61154" y="2343832"/>
            <a:ext cx="4" cy="1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EC1D0B5-ED99-4F37-2C0A-DDA8A303B6C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00206" y="673670"/>
            <a:ext cx="1171575" cy="3276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1134638-A1E5-B918-FF3C-D662B67D86D0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013" b="11319"/>
          <a:stretch/>
        </p:blipFill>
        <p:spPr>
          <a:xfrm>
            <a:off x="5510968" y="775855"/>
            <a:ext cx="712213" cy="1026316"/>
          </a:xfrm>
          <a:prstGeom prst="rect">
            <a:avLst/>
          </a:prstGeom>
        </p:spPr>
      </p:pic>
      <p:pic>
        <p:nvPicPr>
          <p:cNvPr id="6" name="Picture Placeholder 17" descr="A superhero holding a hammer&#10;&#10;Description automatically generated">
            <a:extLst>
              <a:ext uri="{FF2B5EF4-FFF2-40B4-BE49-F238E27FC236}">
                <a16:creationId xmlns:a16="http://schemas.microsoft.com/office/drawing/2014/main" id="{B3E12D61-B8F9-6F8C-A930-3AF3A30CF45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16"/>
          <a:srcRect/>
          <a:stretch>
            <a:fillRect/>
          </a:stretch>
        </p:blipFill>
        <p:spPr>
          <a:xfrm>
            <a:off x="561479" y="411371"/>
            <a:ext cx="2260969" cy="226096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6309727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erson looking at a magnifying glass&#10;&#10;Description automatically generated">
            <a:extLst>
              <a:ext uri="{FF2B5EF4-FFF2-40B4-BE49-F238E27FC236}">
                <a16:creationId xmlns:a16="http://schemas.microsoft.com/office/drawing/2014/main" id="{E106F945-C3C1-06ED-F7D3-FF77AFEA6AF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32566567-D20B-BBFC-6936-B2AB2C4BA6B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l="17239" r="17239"/>
          <a:stretch/>
        </p:blipFill>
        <p:spPr/>
      </p:pic>
      <p:pic>
        <p:nvPicPr>
          <p:cNvPr id="16" name="Picture Placeholder 15" descr="A group of men standing around a person lying on the ground&#10;&#10;Description automatically generated">
            <a:extLst>
              <a:ext uri="{FF2B5EF4-FFF2-40B4-BE49-F238E27FC236}">
                <a16:creationId xmlns:a16="http://schemas.microsoft.com/office/drawing/2014/main" id="{5F3A0701-8E52-2C5F-15F7-0A6E870BF0F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/>
          <a:srcRect l="12877" r="12877"/>
          <a:stretch>
            <a:fillRect/>
          </a:stretch>
        </p:blipFill>
        <p:spPr/>
      </p:pic>
      <p:pic>
        <p:nvPicPr>
          <p:cNvPr id="26" name="Picture Placeholder 25" descr="A person holding a pencil and looking at a checklist&#10;&#10;Description automatically generated">
            <a:extLst>
              <a:ext uri="{FF2B5EF4-FFF2-40B4-BE49-F238E27FC236}">
                <a16:creationId xmlns:a16="http://schemas.microsoft.com/office/drawing/2014/main" id="{276C509B-5C12-F297-8CB3-3097BBFEA41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/>
          <a:srcRect l="17833" r="17833"/>
          <a:stretch>
            <a:fillRect/>
          </a:stretch>
        </p:blipFill>
        <p:spPr/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E04F3482-3BCE-70DF-A726-98CF7EB1BEF6}"/>
              </a:ext>
            </a:extLst>
          </p:cNvPr>
          <p:cNvSpPr>
            <a:spLocks/>
          </p:cNvSpPr>
          <p:nvPr/>
        </p:nvSpPr>
        <p:spPr bwMode="auto">
          <a:xfrm>
            <a:off x="3503706" y="1569668"/>
            <a:ext cx="2493286" cy="2484223"/>
          </a:xfrm>
          <a:custGeom>
            <a:avLst/>
            <a:gdLst>
              <a:gd name="T0" fmla="*/ 1057 w 1057"/>
              <a:gd name="T1" fmla="*/ 0 h 1057"/>
              <a:gd name="T2" fmla="*/ 1057 w 1057"/>
              <a:gd name="T3" fmla="*/ 96 h 1057"/>
              <a:gd name="T4" fmla="*/ 96 w 1057"/>
              <a:gd name="T5" fmla="*/ 1057 h 1057"/>
              <a:gd name="T6" fmla="*/ 0 w 1057"/>
              <a:gd name="T7" fmla="*/ 1057 h 1057"/>
              <a:gd name="T8" fmla="*/ 1057 w 1057"/>
              <a:gd name="T9" fmla="*/ 0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0"/>
                </a:moveTo>
                <a:cubicBezTo>
                  <a:pt x="1057" y="96"/>
                  <a:pt x="1057" y="96"/>
                  <a:pt x="1057" y="96"/>
                </a:cubicBezTo>
                <a:cubicBezTo>
                  <a:pt x="536" y="117"/>
                  <a:pt x="117" y="536"/>
                  <a:pt x="96" y="1057"/>
                </a:cubicBezTo>
                <a:cubicBezTo>
                  <a:pt x="0" y="1057"/>
                  <a:pt x="0" y="1057"/>
                  <a:pt x="0" y="1057"/>
                </a:cubicBezTo>
                <a:cubicBezTo>
                  <a:pt x="21" y="483"/>
                  <a:pt x="483" y="21"/>
                  <a:pt x="105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7168A3E7-984F-F4A2-3E1C-5934A6E03F8B}"/>
              </a:ext>
            </a:extLst>
          </p:cNvPr>
          <p:cNvSpPr>
            <a:spLocks/>
          </p:cNvSpPr>
          <p:nvPr/>
        </p:nvSpPr>
        <p:spPr bwMode="auto">
          <a:xfrm>
            <a:off x="6193762" y="1569669"/>
            <a:ext cx="2493038" cy="2485472"/>
          </a:xfrm>
          <a:custGeom>
            <a:avLst/>
            <a:gdLst>
              <a:gd name="T0" fmla="*/ 1057 w 1057"/>
              <a:gd name="T1" fmla="*/ 1057 h 1057"/>
              <a:gd name="T2" fmla="*/ 961 w 1057"/>
              <a:gd name="T3" fmla="*/ 1057 h 1057"/>
              <a:gd name="T4" fmla="*/ 0 w 1057"/>
              <a:gd name="T5" fmla="*/ 96 h 1057"/>
              <a:gd name="T6" fmla="*/ 0 w 1057"/>
              <a:gd name="T7" fmla="*/ 0 h 1057"/>
              <a:gd name="T8" fmla="*/ 1057 w 1057"/>
              <a:gd name="T9" fmla="*/ 1057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1057"/>
                </a:moveTo>
                <a:cubicBezTo>
                  <a:pt x="961" y="1057"/>
                  <a:pt x="961" y="1057"/>
                  <a:pt x="961" y="1057"/>
                </a:cubicBezTo>
                <a:cubicBezTo>
                  <a:pt x="940" y="536"/>
                  <a:pt x="521" y="117"/>
                  <a:pt x="0" y="96"/>
                </a:cubicBezTo>
                <a:cubicBezTo>
                  <a:pt x="0" y="0"/>
                  <a:pt x="0" y="0"/>
                  <a:pt x="0" y="0"/>
                </a:cubicBezTo>
                <a:cubicBezTo>
                  <a:pt x="574" y="21"/>
                  <a:pt x="1036" y="483"/>
                  <a:pt x="1057" y="10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eeform 9">
            <a:extLst>
              <a:ext uri="{FF2B5EF4-FFF2-40B4-BE49-F238E27FC236}">
                <a16:creationId xmlns:a16="http://schemas.microsoft.com/office/drawing/2014/main" id="{88C95952-0A79-4A21-9EDE-9F9D760E8B2D}"/>
              </a:ext>
            </a:extLst>
          </p:cNvPr>
          <p:cNvSpPr>
            <a:spLocks/>
          </p:cNvSpPr>
          <p:nvPr/>
        </p:nvSpPr>
        <p:spPr bwMode="auto">
          <a:xfrm>
            <a:off x="3503706" y="4230641"/>
            <a:ext cx="2494534" cy="2488900"/>
          </a:xfrm>
          <a:custGeom>
            <a:avLst/>
            <a:gdLst>
              <a:gd name="T0" fmla="*/ 1057 w 1057"/>
              <a:gd name="T1" fmla="*/ 961 h 1057"/>
              <a:gd name="T2" fmla="*/ 1057 w 1057"/>
              <a:gd name="T3" fmla="*/ 1057 h 1057"/>
              <a:gd name="T4" fmla="*/ 0 w 1057"/>
              <a:gd name="T5" fmla="*/ 0 h 1057"/>
              <a:gd name="T6" fmla="*/ 96 w 1057"/>
              <a:gd name="T7" fmla="*/ 0 h 1057"/>
              <a:gd name="T8" fmla="*/ 1057 w 1057"/>
              <a:gd name="T9" fmla="*/ 961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961"/>
                </a:moveTo>
                <a:cubicBezTo>
                  <a:pt x="1057" y="1057"/>
                  <a:pt x="1057" y="1057"/>
                  <a:pt x="1057" y="1057"/>
                </a:cubicBezTo>
                <a:cubicBezTo>
                  <a:pt x="483" y="1036"/>
                  <a:pt x="21" y="574"/>
                  <a:pt x="0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17" y="521"/>
                  <a:pt x="536" y="940"/>
                  <a:pt x="1057" y="96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ED6A0D95-7DF5-1B82-9295-FC73BD6D79A1}"/>
              </a:ext>
            </a:extLst>
          </p:cNvPr>
          <p:cNvSpPr>
            <a:spLocks/>
          </p:cNvSpPr>
          <p:nvPr/>
        </p:nvSpPr>
        <p:spPr bwMode="auto">
          <a:xfrm>
            <a:off x="6193762" y="4230641"/>
            <a:ext cx="2493038" cy="2505491"/>
          </a:xfrm>
          <a:custGeom>
            <a:avLst/>
            <a:gdLst>
              <a:gd name="T0" fmla="*/ 1057 w 1057"/>
              <a:gd name="T1" fmla="*/ 0 h 1057"/>
              <a:gd name="T2" fmla="*/ 0 w 1057"/>
              <a:gd name="T3" fmla="*/ 1057 h 1057"/>
              <a:gd name="T4" fmla="*/ 0 w 1057"/>
              <a:gd name="T5" fmla="*/ 961 h 1057"/>
              <a:gd name="T6" fmla="*/ 961 w 1057"/>
              <a:gd name="T7" fmla="*/ 0 h 1057"/>
              <a:gd name="T8" fmla="*/ 1057 w 1057"/>
              <a:gd name="T9" fmla="*/ 0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0"/>
                </a:moveTo>
                <a:cubicBezTo>
                  <a:pt x="1036" y="574"/>
                  <a:pt x="574" y="1036"/>
                  <a:pt x="0" y="1057"/>
                </a:cubicBezTo>
                <a:cubicBezTo>
                  <a:pt x="0" y="961"/>
                  <a:pt x="0" y="961"/>
                  <a:pt x="0" y="961"/>
                </a:cubicBezTo>
                <a:cubicBezTo>
                  <a:pt x="521" y="940"/>
                  <a:pt x="940" y="521"/>
                  <a:pt x="961" y="0"/>
                </a:cubicBezTo>
                <a:lnTo>
                  <a:pt x="105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2F05A2-AE95-8634-E711-273F6F311B8E}"/>
              </a:ext>
            </a:extLst>
          </p:cNvPr>
          <p:cNvSpPr/>
          <p:nvPr/>
        </p:nvSpPr>
        <p:spPr>
          <a:xfrm>
            <a:off x="0" y="2662790"/>
            <a:ext cx="306963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Document Contro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llow upload/edit of Docu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Review / Acknowled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utomation on scheduling for revie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1ACC58-764E-41D9-4C76-384404E27C34}"/>
              </a:ext>
            </a:extLst>
          </p:cNvPr>
          <p:cNvSpPr/>
          <p:nvPr/>
        </p:nvSpPr>
        <p:spPr>
          <a:xfrm>
            <a:off x="-1" y="4442682"/>
            <a:ext cx="306963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Incident Management &amp; Reporting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llow user to create new reports of Incid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Fields are fully customizable via Form Desig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uto-scheduling for sending to the appropriate author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7888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E1963B-0D02-3FF4-2B53-613DAFA9FD5A}"/>
              </a:ext>
            </a:extLst>
          </p:cNvPr>
          <p:cNvSpPr/>
          <p:nvPr/>
        </p:nvSpPr>
        <p:spPr>
          <a:xfrm>
            <a:off x="9135785" y="2662790"/>
            <a:ext cx="3069631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Audit Management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uditing for Incident cas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Review selected reports and provide necessary findings/summa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Provide additional stages (Steps) as follow-u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67888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7532D7-2372-11BF-3862-8A81ADA3628C}"/>
              </a:ext>
            </a:extLst>
          </p:cNvPr>
          <p:cNvSpPr/>
          <p:nvPr/>
        </p:nvSpPr>
        <p:spPr>
          <a:xfrm>
            <a:off x="9135784" y="4442682"/>
            <a:ext cx="30696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Risk Assessment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uditing for Incident cases </a:t>
            </a:r>
          </a:p>
        </p:txBody>
      </p:sp>
      <p:graphicFrame>
        <p:nvGraphicFramePr>
          <p:cNvPr id="14" name="Title 1">
            <a:extLst>
              <a:ext uri="{FF2B5EF4-FFF2-40B4-BE49-F238E27FC236}">
                <a16:creationId xmlns:a16="http://schemas.microsoft.com/office/drawing/2014/main" id="{91D832BA-FCFF-64AD-EFDB-D4277B1CC820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hat is </a:t>
                      </a:r>
                      <a:r>
                        <a:rPr kumimoji="0" lang="en-US" altLang="zh-CN" sz="3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ruson</a:t>
                      </a:r>
                      <a:r>
                        <a:rPr kumimoji="0" lang="en-US" altLang="zh-CN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iation Safety Management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2562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3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6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1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2B0246-E436-1B30-F448-9ACECF3814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1" y="91544"/>
            <a:ext cx="7383666" cy="3013571"/>
          </a:xfrm>
          <a:prstGeom prst="rect">
            <a:avLst/>
          </a:prstGeom>
          <a:ln>
            <a:solidFill>
              <a:srgbClr val="212D38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D96EDE-A450-039E-5343-51C67CF900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94"/>
          <a:stretch/>
        </p:blipFill>
        <p:spPr>
          <a:xfrm>
            <a:off x="-38483" y="3379304"/>
            <a:ext cx="6824526" cy="2670477"/>
          </a:xfrm>
          <a:prstGeom prst="rect">
            <a:avLst/>
          </a:prstGeom>
          <a:ln>
            <a:solidFill>
              <a:srgbClr val="212D38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B8114C-BAC0-3CC0-999E-928F8F2C890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89" r="14939"/>
          <a:stretch/>
        </p:blipFill>
        <p:spPr>
          <a:xfrm>
            <a:off x="6157293" y="1428561"/>
            <a:ext cx="5940286" cy="4000878"/>
          </a:xfrm>
          <a:prstGeom prst="rect">
            <a:avLst/>
          </a:prstGeom>
          <a:ln>
            <a:solidFill>
              <a:srgbClr val="212D38"/>
            </a:solidFill>
          </a:ln>
        </p:spPr>
      </p:pic>
    </p:spTree>
    <p:extLst>
      <p:ext uri="{BB962C8B-B14F-4D97-AF65-F5344CB8AC3E}">
        <p14:creationId xmlns:p14="http://schemas.microsoft.com/office/powerpoint/2010/main" val="1383386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AA142341-1B7B-CEFA-B8A3-1F14C732D2A5}"/>
              </a:ext>
            </a:extLst>
          </p:cNvPr>
          <p:cNvGraphicFramePr>
            <a:graphicFrameLocks noGrp="1"/>
          </p:cNvGraphicFramePr>
          <p:nvPr/>
        </p:nvGraphicFramePr>
        <p:xfrm>
          <a:off x="85725" y="238587"/>
          <a:ext cx="8956675" cy="1245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062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7145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777715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Clients</a:t>
                      </a:r>
                      <a:endParaRPr lang="en-US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MY" sz="17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 serve a purpose</a:t>
                      </a:r>
                      <a:endParaRPr lang="en-GB" sz="1700" b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1026" name="Picture 2" descr="RSSB publishes 2020-21 business plan | Rail Business UK ...">
            <a:extLst>
              <a:ext uri="{FF2B5EF4-FFF2-40B4-BE49-F238E27FC236}">
                <a16:creationId xmlns:a16="http://schemas.microsoft.com/office/drawing/2014/main" id="{7B130042-CDBF-1FDE-D97E-1DB26E8CB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037" y="1747838"/>
            <a:ext cx="2298412" cy="1314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mirates logo (updated 2023) - Airhex">
            <a:extLst>
              <a:ext uri="{FF2B5EF4-FFF2-40B4-BE49-F238E27FC236}">
                <a16:creationId xmlns:a16="http://schemas.microsoft.com/office/drawing/2014/main" id="{DE08E01A-162C-2517-71C8-6DBA7CAB9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449" y="1747838"/>
            <a:ext cx="3264559" cy="932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yanair (Irish low-cost airline) | Ryanair, Airlines ...">
            <a:extLst>
              <a:ext uri="{FF2B5EF4-FFF2-40B4-BE49-F238E27FC236}">
                <a16:creationId xmlns:a16="http://schemas.microsoft.com/office/drawing/2014/main" id="{34FED5B8-0C9A-7447-8007-3E335BE6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8544" y="1590129"/>
            <a:ext cx="1963579" cy="14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irline] airasia logo — airasia newsroom">
            <a:extLst>
              <a:ext uri="{FF2B5EF4-FFF2-40B4-BE49-F238E27FC236}">
                <a16:creationId xmlns:a16="http://schemas.microsoft.com/office/drawing/2014/main" id="{8EE0CCFB-21FA-3186-3242-D64583A30D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2295" y="1455152"/>
            <a:ext cx="1613167" cy="160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British Airways Logo - PNG and Vector - Logo Download">
            <a:extLst>
              <a:ext uri="{FF2B5EF4-FFF2-40B4-BE49-F238E27FC236}">
                <a16:creationId xmlns:a16="http://schemas.microsoft.com/office/drawing/2014/main" id="{C6DDD940-2759-FB2D-F3EE-7F91ED1FF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037" y="4411288"/>
            <a:ext cx="2477962" cy="1051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Lion Air Group - Wikipedia">
            <a:extLst>
              <a:ext uri="{FF2B5EF4-FFF2-40B4-BE49-F238E27FC236}">
                <a16:creationId xmlns:a16="http://schemas.microsoft.com/office/drawing/2014/main" id="{3508B72E-FCD2-923C-2C98-504B00679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859" y="3849404"/>
            <a:ext cx="2148966" cy="1613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Air India Logo transparent PNG - StickPNG">
            <a:extLst>
              <a:ext uri="{FF2B5EF4-FFF2-40B4-BE49-F238E27FC236}">
                <a16:creationId xmlns:a16="http://schemas.microsoft.com/office/drawing/2014/main" id="{B099F7C8-4B54-B644-D6C1-070C436C4A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8544" y="3526688"/>
            <a:ext cx="1963579" cy="192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Download IndiGo Logo in SVG Vector or PNG File Format - Logo.wine">
            <a:extLst>
              <a:ext uri="{FF2B5EF4-FFF2-40B4-BE49-F238E27FC236}">
                <a16:creationId xmlns:a16="http://schemas.microsoft.com/office/drawing/2014/main" id="{ED0FD116-7A3F-DC4F-2121-7448E5D3C2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1" t="16100" r="27498" b="16352"/>
          <a:stretch/>
        </p:blipFill>
        <p:spPr bwMode="auto">
          <a:xfrm>
            <a:off x="9853279" y="3795188"/>
            <a:ext cx="1472684" cy="14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678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3A07117-B0D2-6E2E-1CFB-ABC5A4600BA1}"/>
              </a:ext>
            </a:extLst>
          </p:cNvPr>
          <p:cNvGraphicFramePr/>
          <p:nvPr/>
        </p:nvGraphicFramePr>
        <p:xfrm>
          <a:off x="124170" y="238587"/>
          <a:ext cx="7998690" cy="5814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23">
            <a:extLst>
              <a:ext uri="{FF2B5EF4-FFF2-40B4-BE49-F238E27FC236}">
                <a16:creationId xmlns:a16="http://schemas.microsoft.com/office/drawing/2014/main" id="{17F1F523-D2F1-DDA4-CFB7-2416C5CDFB3E}"/>
              </a:ext>
            </a:extLst>
          </p:cNvPr>
          <p:cNvGraphicFramePr>
            <a:graphicFrameLocks noGrp="1"/>
          </p:cNvGraphicFramePr>
          <p:nvPr/>
        </p:nvGraphicFramePr>
        <p:xfrm>
          <a:off x="7729488" y="2138408"/>
          <a:ext cx="4367060" cy="254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487">
                  <a:extLst>
                    <a:ext uri="{9D8B030D-6E8A-4147-A177-3AD203B41FA5}">
                      <a16:colId xmlns:a16="http://schemas.microsoft.com/office/drawing/2014/main" val="469510806"/>
                    </a:ext>
                  </a:extLst>
                </a:gridCol>
                <a:gridCol w="181562">
                  <a:extLst>
                    <a:ext uri="{9D8B030D-6E8A-4147-A177-3AD203B41FA5}">
                      <a16:colId xmlns:a16="http://schemas.microsoft.com/office/drawing/2014/main" val="1815105499"/>
                    </a:ext>
                  </a:extLst>
                </a:gridCol>
                <a:gridCol w="3896011">
                  <a:extLst>
                    <a:ext uri="{9D8B030D-6E8A-4147-A177-3AD203B41FA5}">
                      <a16:colId xmlns:a16="http://schemas.microsoft.com/office/drawing/2014/main" val="3114271745"/>
                    </a:ext>
                  </a:extLst>
                </a:gridCol>
              </a:tblGrid>
              <a:tr h="1153837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7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nual Server Hosting cost takes up to 30% </a:t>
                      </a:r>
                      <a:r>
                        <a:rPr lang="en-US" altLang="zh-CN" sz="24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f the total AWS cost</a:t>
                      </a:r>
                    </a:p>
                    <a:p>
                      <a:pPr algn="l"/>
                      <a:endParaRPr lang="en-US" sz="2400" b="1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en-US" sz="24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0% ($133k) out of 450k </a:t>
                      </a:r>
                    </a:p>
                    <a:p>
                      <a:pPr algn="l"/>
                      <a:r>
                        <a:rPr lang="en-US" sz="14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*</a:t>
                      </a:r>
                      <a:r>
                        <a:rPr lang="en-US" altLang="zh-CN" sz="14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xcluding MongoDB cost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393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36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1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8800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719111"/>
                  </a:ext>
                </a:extLst>
              </a:tr>
            </a:tbl>
          </a:graphicData>
        </a:graphic>
      </p:graphicFrame>
      <p:graphicFrame>
        <p:nvGraphicFramePr>
          <p:cNvPr id="9" name="Title 1">
            <a:extLst>
              <a:ext uri="{FF2B5EF4-FFF2-40B4-BE49-F238E27FC236}">
                <a16:creationId xmlns:a16="http://schemas.microsoft.com/office/drawing/2014/main" id="{E6A64C4F-0E34-2E12-F4F6-8A036470D6A9}"/>
              </a:ext>
            </a:extLst>
          </p:cNvPr>
          <p:cNvGraphicFramePr>
            <a:graphicFrameLocks noGrp="1"/>
          </p:cNvGraphicFramePr>
          <p:nvPr/>
        </p:nvGraphicFramePr>
        <p:xfrm>
          <a:off x="85725" y="238587"/>
          <a:ext cx="8956675" cy="1245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062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7145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777715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  <a:endParaRPr lang="en-US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MY" sz="17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 serve a purpose</a:t>
                      </a:r>
                      <a:endParaRPr lang="en-GB" sz="1700" b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67233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itle 1">
            <a:extLst>
              <a:ext uri="{FF2B5EF4-FFF2-40B4-BE49-F238E27FC236}">
                <a16:creationId xmlns:a16="http://schemas.microsoft.com/office/drawing/2014/main" id="{73B03F43-C28F-2D38-CC82-B1793C04FDC0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684565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71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74115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954734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reakdown of Server Hosting Cost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CA2EDBE-4D82-3DA9-775F-0416DC82FF95}"/>
              </a:ext>
            </a:extLst>
          </p:cNvPr>
          <p:cNvGraphicFramePr/>
          <p:nvPr/>
        </p:nvGraphicFramePr>
        <p:xfrm>
          <a:off x="446087" y="1326036"/>
          <a:ext cx="11299825" cy="5816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099024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AA142341-1B7B-CEFA-B8A3-1F14C732D2A5}"/>
              </a:ext>
            </a:extLst>
          </p:cNvPr>
          <p:cNvGraphicFramePr>
            <a:graphicFrameLocks noGrp="1"/>
          </p:cNvGraphicFramePr>
          <p:nvPr/>
        </p:nvGraphicFramePr>
        <p:xfrm>
          <a:off x="85725" y="238587"/>
          <a:ext cx="6496230" cy="1260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024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414475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5640731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posal</a:t>
                      </a:r>
                      <a:endParaRPr lang="en-US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MY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steps can we take to lower the cost?</a:t>
                      </a: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99A60A4-D9A1-4286-C84A-A608A60DDD5D}"/>
              </a:ext>
            </a:extLst>
          </p:cNvPr>
          <p:cNvSpPr txBox="1"/>
          <p:nvPr/>
        </p:nvSpPr>
        <p:spPr>
          <a:xfrm>
            <a:off x="884511" y="1993681"/>
            <a:ext cx="109217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Primary Objec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Change the hosting platform from Windows-based to Linux-based instan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ctions to Take</a:t>
            </a: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0972D3"/>
                </a:solidFill>
                <a:effectLst/>
                <a:uLnTx/>
                <a:uFillTx/>
                <a:latin typeface="AmazonEmber"/>
                <a:ea typeface="+mn-ea"/>
                <a:cs typeface="+mn-cs"/>
                <a:hlinkClick r:id="rId2"/>
              </a:rPr>
              <a:t> </a:t>
            </a:r>
            <a:r>
              <a:rPr kumimoji="0" lang="en-US" sz="2400" b="0" i="0" u="sng" strike="noStrike" kern="1200" cap="none" spc="0" normalizeH="0" baseline="0" noProof="0" dirty="0">
                <a:ln>
                  <a:noFill/>
                </a:ln>
                <a:solidFill>
                  <a:srgbClr val="0972D3"/>
                </a:solidFill>
                <a:effectLst/>
                <a:uLnTx/>
                <a:uFillTx/>
                <a:latin typeface="AmazonEmber"/>
                <a:ea typeface="+mn-ea"/>
                <a:cs typeface="+mn-cs"/>
                <a:hlinkClick r:id="rId2"/>
              </a:rPr>
              <a:t>for .N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MY" sz="2400" b="0" i="0" u="none" strike="noStrike" kern="120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Transform the existing microservices, upgrading them from .NET Framework 4.7 to the most recent .NET 7 ver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MY" sz="2400" b="0" i="0" u="none" strike="noStrike" kern="120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Containerize these services using a Docker file generated as a template by AI, targeting Linux-based Docker contain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MY" sz="2400" b="0" i="0" u="none" strike="noStrike" kern="120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Deploy on a Linux instance (e.g. ECS, EKS) using Docke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4050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2537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itle 1">
            <a:extLst>
              <a:ext uri="{FF2B5EF4-FFF2-40B4-BE49-F238E27FC236}">
                <a16:creationId xmlns:a16="http://schemas.microsoft.com/office/drawing/2014/main" id="{73B03F43-C28F-2D38-CC82-B1793C04FDC0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684565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71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74115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954734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ndows vs Linux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CA2EDBE-4D82-3DA9-775F-0416DC82FF95}"/>
              </a:ext>
            </a:extLst>
          </p:cNvPr>
          <p:cNvGraphicFramePr/>
          <p:nvPr/>
        </p:nvGraphicFramePr>
        <p:xfrm>
          <a:off x="711200" y="1562100"/>
          <a:ext cx="10769600" cy="4957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24043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AA142341-1B7B-CEFA-B8A3-1F14C732D2A5}"/>
              </a:ext>
            </a:extLst>
          </p:cNvPr>
          <p:cNvGraphicFramePr>
            <a:graphicFrameLocks noGrp="1"/>
          </p:cNvGraphicFramePr>
          <p:nvPr/>
        </p:nvGraphicFramePr>
        <p:xfrm>
          <a:off x="85725" y="238587"/>
          <a:ext cx="7063221" cy="1260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51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45065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6133054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posal (cont.)</a:t>
                      </a:r>
                      <a:endParaRPr lang="en-US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MY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suring Quality, One Unit at a Time</a:t>
                      </a:r>
                      <a:endParaRPr lang="en-GB" sz="1700" b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99A60A4-D9A1-4286-C84A-A608A60DDD5D}"/>
              </a:ext>
            </a:extLst>
          </p:cNvPr>
          <p:cNvSpPr txBox="1"/>
          <p:nvPr/>
        </p:nvSpPr>
        <p:spPr>
          <a:xfrm>
            <a:off x="902983" y="2261536"/>
            <a:ext cx="1092174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Secondary Objec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Focus on Unit Testing to enhance code cover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Actions to Tak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Using </a:t>
            </a:r>
            <a:r>
              <a:rPr kumimoji="0" lang="en-US" altLang="zh-CN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GenAI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 to provide unit test template for selected classes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4050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Proje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mazonEmber"/>
                <a:ea typeface="+mn-ea"/>
                <a:cs typeface="+mn-cs"/>
              </a:rPr>
              <a:t>Increase current coverage of 68% up to 80% for Unit 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mazonEmb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4050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6066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AA142341-1B7B-CEFA-B8A3-1F14C732D2A5}"/>
              </a:ext>
            </a:extLst>
          </p:cNvPr>
          <p:cNvGraphicFramePr>
            <a:graphicFrameLocks noGrp="1"/>
          </p:cNvGraphicFramePr>
          <p:nvPr/>
        </p:nvGraphicFramePr>
        <p:xfrm>
          <a:off x="85725" y="238587"/>
          <a:ext cx="7063221" cy="1260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51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45065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6133054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oles</a:t>
                      </a:r>
                      <a:endParaRPr lang="en-US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MY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ryone has a role to play</a:t>
                      </a:r>
                      <a:endParaRPr lang="en-GB" sz="1700" b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99A60A4-D9A1-4286-C84A-A608A60DDD5D}"/>
              </a:ext>
            </a:extLst>
          </p:cNvPr>
          <p:cNvSpPr txBox="1"/>
          <p:nvPr/>
        </p:nvSpPr>
        <p:spPr>
          <a:xfrm>
            <a:off x="406026" y="2480197"/>
            <a:ext cx="11873770" cy="2225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.NET 7, Containerize, Deploy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– Michael, Hong Yun, Thiam Aik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Unit Testing with AI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– Maryam, Richard, Keith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Validating Unit Tests Result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– Lay Yong</a:t>
            </a:r>
          </a:p>
        </p:txBody>
      </p:sp>
    </p:spTree>
    <p:extLst>
      <p:ext uri="{BB962C8B-B14F-4D97-AF65-F5344CB8AC3E}">
        <p14:creationId xmlns:p14="http://schemas.microsoft.com/office/powerpoint/2010/main" val="21728613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Use of </a:t>
            </a:r>
            <a:r>
              <a:rPr lang="en-GB" err="1"/>
              <a:t>GenAI</a:t>
            </a:r>
            <a:r>
              <a:rPr lang="en-GB"/>
              <a:t> in software developmen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82912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F7E08B-FA62-D23D-8D94-68B4B570FFF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50637" y="1240010"/>
            <a:ext cx="10515600" cy="437797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7200" dirty="0"/>
          </a:p>
          <a:p>
            <a:pPr marL="0" indent="0" algn="ctr">
              <a:buNone/>
            </a:pPr>
            <a:r>
              <a:rPr lang="en-US" sz="7200" dirty="0"/>
              <a:t>-Q&amp;A-</a:t>
            </a:r>
          </a:p>
        </p:txBody>
      </p:sp>
    </p:spTree>
    <p:extLst>
      <p:ext uri="{BB962C8B-B14F-4D97-AF65-F5344CB8AC3E}">
        <p14:creationId xmlns:p14="http://schemas.microsoft.com/office/powerpoint/2010/main" val="35160551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itle">
            <a:extLst>
              <a:ext uri="{FF2B5EF4-FFF2-40B4-BE49-F238E27FC236}">
                <a16:creationId xmlns:a16="http://schemas.microsoft.com/office/drawing/2014/main" id="{556FA651-DCDF-8532-DD1D-CD96908BDE7F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1139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Modernizers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ckathon 2023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3" name="Picture 2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92FF31E-FC67-980F-3C32-73343A5F4627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500960" y="2587149"/>
            <a:ext cx="2160207" cy="21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0884490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541634-215B-2A75-F32E-716EB91287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Chan </a:t>
            </a:r>
            <a:br>
              <a:rPr lang="en-US" sz="2600"/>
            </a:br>
            <a:r>
              <a:rPr lang="en-US" sz="2600"/>
              <a:t>F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95A0F8-4456-D2C6-2A96-42FC9C3824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8050" y="3158022"/>
            <a:ext cx="2202683" cy="431316"/>
          </a:xfrm>
        </p:spPr>
        <p:txBody>
          <a:bodyPr>
            <a:normAutofit fontScale="700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oftware Development Team Leader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43538A-75A2-DE95-271A-EAD65B6C9F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Roney</a:t>
            </a:r>
            <a:br>
              <a:rPr lang="en-US" sz="2600"/>
            </a:br>
            <a:r>
              <a:rPr lang="en-US" sz="2600" err="1"/>
              <a:t>Tham</a:t>
            </a:r>
            <a:endParaRPr lang="en-US" sz="2600"/>
          </a:p>
          <a:p>
            <a:endParaRPr lang="en-US" sz="26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DA492-0E46-22BD-986D-FC41BE7B70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8050" y="5014548"/>
            <a:ext cx="2218238" cy="412499"/>
          </a:xfrm>
        </p:spPr>
        <p:txBody>
          <a:bodyPr>
            <a:normAutofit fontScale="775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enior Software Engineer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0B9536-5E7D-9143-4D1D-603B212D52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Regine</a:t>
            </a:r>
            <a:br>
              <a:rPr lang="en-US" sz="2600"/>
            </a:br>
            <a:r>
              <a:rPr lang="en-US" sz="2600"/>
              <a:t>Loi</a:t>
            </a:r>
          </a:p>
          <a:p>
            <a:endParaRPr lang="en-US" sz="2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F1C1CD-3D8A-F26A-099D-DBE7200D1C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Jason </a:t>
            </a:r>
            <a:r>
              <a:rPr lang="en-US" sz="2600" err="1"/>
              <a:t>Phoon</a:t>
            </a:r>
            <a:endParaRPr lang="en-US" sz="26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2C47A61-A44D-CF93-4E5C-8D958966D27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789362" y="4986324"/>
            <a:ext cx="2210682" cy="412500"/>
          </a:xfrm>
        </p:spPr>
        <p:txBody>
          <a:bodyPr>
            <a:normAutofit fontScale="775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enior Software Engineer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3B47ED-A175-E560-9924-3678B83AEA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Lance</a:t>
            </a:r>
            <a:br>
              <a:rPr lang="en-US" sz="2600"/>
            </a:br>
            <a:r>
              <a:rPr lang="en-US" sz="2600"/>
              <a:t>Ling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44351-8A2C-0A7E-4787-B6AFAB962B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3230" y="3186243"/>
            <a:ext cx="2205481" cy="412501"/>
          </a:xfrm>
        </p:spPr>
        <p:txBody>
          <a:bodyPr>
            <a:normAutofit fontScale="775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oftware Engineer Level 2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99AC28-BE99-A65D-30E6-AB808BC9820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600"/>
              <a:t>Siew</a:t>
            </a:r>
            <a:br>
              <a:rPr lang="en-US" sz="2600"/>
            </a:br>
            <a:r>
              <a:rPr lang="en-US" sz="2600"/>
              <a:t>Yee</a:t>
            </a:r>
          </a:p>
          <a:p>
            <a:endParaRPr lang="en-US" sz="26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D4C969B-CCA8-997E-9B8F-74907D17084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76137" y="4976919"/>
            <a:ext cx="2217245" cy="412499"/>
          </a:xfrm>
        </p:spPr>
        <p:txBody>
          <a:bodyPr>
            <a:normAutofit fontScale="85000" lnSpcReduction="10000"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</a:rPr>
              <a:t>Software Test Engine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8B161A2-8302-3B60-E3C8-1ADC35E212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54543" y="3177553"/>
            <a:ext cx="2216653" cy="411784"/>
          </a:xfrm>
        </p:spPr>
        <p:txBody>
          <a:bodyPr>
            <a:normAutofit fontScale="85000" lnSpcReduction="10000"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</a:rPr>
              <a:t>Software Test Engine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3A7D901-E536-07F5-A120-C118868E4D9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 vert="horz" lIns="144000" tIns="36000" rIns="144000" bIns="45720" rtlCol="0" anchor="t">
            <a:normAutofit/>
          </a:bodyPr>
          <a:lstStyle/>
          <a:p>
            <a:r>
              <a:rPr lang="en-US" sz="2500"/>
              <a:t>Azman Shaffie</a:t>
            </a:r>
          </a:p>
          <a:p>
            <a:endParaRPr lang="en-US" sz="260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578A52B-F5B6-A418-C1C3-29475A11283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56393" y="4976918"/>
            <a:ext cx="2214803" cy="412501"/>
          </a:xfrm>
        </p:spPr>
        <p:txBody>
          <a:bodyPr>
            <a:normAutofit fontScale="775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oftware Engineer Level 2</a:t>
            </a:r>
            <a:endParaRPr lang="en-US"/>
          </a:p>
        </p:txBody>
      </p:sp>
      <p:graphicFrame>
        <p:nvGraphicFramePr>
          <p:cNvPr id="18" name="Title 1">
            <a:extLst>
              <a:ext uri="{FF2B5EF4-FFF2-40B4-BE49-F238E27FC236}">
                <a16:creationId xmlns:a16="http://schemas.microsoft.com/office/drawing/2014/main" id="{242C4E3C-735E-2BD8-DB04-D33575BC620B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724322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03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7550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99177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eam Members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0" b="0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24" name="Picture 23" descr="A person with long brown hair&#10;&#10;Description automatically generated">
            <a:extLst>
              <a:ext uri="{FF2B5EF4-FFF2-40B4-BE49-F238E27FC236}">
                <a16:creationId xmlns:a16="http://schemas.microsoft.com/office/drawing/2014/main" id="{3FA66DED-1004-F345-7FF3-A4A1F97E1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2767" y="2245838"/>
            <a:ext cx="871641" cy="871385"/>
          </a:xfrm>
          <a:prstGeom prst="rect">
            <a:avLst/>
          </a:prstGeom>
        </p:spPr>
      </p:pic>
      <p:pic>
        <p:nvPicPr>
          <p:cNvPr id="25" name="Picture 24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2277338A-2A7B-08BF-DA04-900EEECE31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955" y="4033628"/>
            <a:ext cx="892060" cy="842161"/>
          </a:xfrm>
          <a:prstGeom prst="rect">
            <a:avLst/>
          </a:prstGeom>
        </p:spPr>
      </p:pic>
      <p:pic>
        <p:nvPicPr>
          <p:cNvPr id="26" name="Picture 25" descr="A person wearing glasses&#10;&#10;Description automatically generated">
            <a:extLst>
              <a:ext uri="{FF2B5EF4-FFF2-40B4-BE49-F238E27FC236}">
                <a16:creationId xmlns:a16="http://schemas.microsoft.com/office/drawing/2014/main" id="{DDD210AD-136B-0FC6-0A99-BC6DC6CB3D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955" y="2226962"/>
            <a:ext cx="879651" cy="858559"/>
          </a:xfrm>
          <a:prstGeom prst="rect">
            <a:avLst/>
          </a:prstGeom>
        </p:spPr>
      </p:pic>
      <p:pic>
        <p:nvPicPr>
          <p:cNvPr id="27" name="Picture 26" descr="A person wearing glasses&#10;&#10;Description automatically generated">
            <a:extLst>
              <a:ext uri="{FF2B5EF4-FFF2-40B4-BE49-F238E27FC236}">
                <a16:creationId xmlns:a16="http://schemas.microsoft.com/office/drawing/2014/main" id="{87D378B3-E3EC-1B29-2EE3-43F2A84B23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2768" y="4015768"/>
            <a:ext cx="873716" cy="860021"/>
          </a:xfrm>
          <a:prstGeom prst="rect">
            <a:avLst/>
          </a:prstGeom>
        </p:spPr>
      </p:pic>
      <p:pic>
        <p:nvPicPr>
          <p:cNvPr id="28" name="Picture 27" descr="A person in a red shirt&#10;&#10;Description automatically generated">
            <a:extLst>
              <a:ext uri="{FF2B5EF4-FFF2-40B4-BE49-F238E27FC236}">
                <a16:creationId xmlns:a16="http://schemas.microsoft.com/office/drawing/2014/main" id="{F930F48B-86CB-D4D8-E106-A4F2765EAA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8469" y="2255573"/>
            <a:ext cx="864985" cy="838881"/>
          </a:xfrm>
          <a:prstGeom prst="rect">
            <a:avLst/>
          </a:prstGeom>
        </p:spPr>
      </p:pic>
      <p:pic>
        <p:nvPicPr>
          <p:cNvPr id="29" name="Picture 28" descr="A person in a blue and white striped shirt&#10;&#10;Description automatically generated">
            <a:extLst>
              <a:ext uri="{FF2B5EF4-FFF2-40B4-BE49-F238E27FC236}">
                <a16:creationId xmlns:a16="http://schemas.microsoft.com/office/drawing/2014/main" id="{72259159-CDBE-8911-B2A7-25324186D6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8469" y="4050887"/>
            <a:ext cx="953895" cy="892245"/>
          </a:xfrm>
          <a:prstGeom prst="rect">
            <a:avLst/>
          </a:prstGeom>
        </p:spPr>
      </p:pic>
      <p:pic>
        <p:nvPicPr>
          <p:cNvPr id="30" name="Picture 29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0352E70E-289B-555F-F5D2-D5D3D405C8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7115" y="2368815"/>
            <a:ext cx="854631" cy="874591"/>
          </a:xfrm>
          <a:prstGeom prst="rect">
            <a:avLst/>
          </a:prstGeom>
        </p:spPr>
      </p:pic>
      <p:pic>
        <p:nvPicPr>
          <p:cNvPr id="31" name="Picture 30" descr="A person in a red shirt&#10;&#10;Description automatically generated">
            <a:extLst>
              <a:ext uri="{FF2B5EF4-FFF2-40B4-BE49-F238E27FC236}">
                <a16:creationId xmlns:a16="http://schemas.microsoft.com/office/drawing/2014/main" id="{556473C3-6E16-1317-686E-0AA8A22049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65980" y="4033629"/>
            <a:ext cx="835766" cy="842728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08D3C3F-51C4-4552-FF0F-F745476D194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554543" y="2206938"/>
            <a:ext cx="2211388" cy="1376901"/>
          </a:xfrm>
        </p:spPr>
        <p:txBody>
          <a:bodyPr vert="horz" lIns="144000" tIns="36000" rIns="144000" bIns="45720" rtlCol="0" anchor="t">
            <a:normAutofit/>
          </a:bodyPr>
          <a:lstStyle/>
          <a:p>
            <a:r>
              <a:rPr lang="en-US" sz="2000" err="1"/>
              <a:t>Khaasthuri</a:t>
            </a:r>
            <a:br>
              <a:rPr lang="en-US" sz="2000"/>
            </a:br>
            <a:r>
              <a:rPr lang="en-US" sz="2000"/>
              <a:t>Devi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952B442-5406-C072-F60D-20C865BF5E1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89364" y="3158022"/>
            <a:ext cx="2205481" cy="431315"/>
          </a:xfrm>
        </p:spPr>
        <p:txBody>
          <a:bodyPr>
            <a:normAutofit fontScale="70000" lnSpcReduction="20000"/>
          </a:bodyPr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Software Development Team L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4018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DFCE3522-331B-9E1C-6D2B-4BD04B878002}"/>
              </a:ext>
            </a:extLst>
          </p:cNvPr>
          <p:cNvGraphicFramePr>
            <a:graphicFrameLocks noGrp="1"/>
          </p:cNvGraphicFramePr>
          <p:nvPr/>
        </p:nvGraphicFramePr>
        <p:xfrm>
          <a:off x="7000737" y="799792"/>
          <a:ext cx="5029019" cy="238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98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2798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373045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4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b Client feature parity for IQM Pro</a:t>
                      </a:r>
                      <a:endParaRPr lang="en-US" sz="440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58904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D7650D0B-3A0F-C2D9-009E-64FE05521E0A}"/>
              </a:ext>
            </a:extLst>
          </p:cNvPr>
          <p:cNvGraphicFramePr>
            <a:graphicFrameLocks noGrp="1"/>
          </p:cNvGraphicFramePr>
          <p:nvPr/>
        </p:nvGraphicFramePr>
        <p:xfrm>
          <a:off x="7000737" y="799792"/>
          <a:ext cx="5029019" cy="3073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98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2798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373045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1107666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bjective</a:t>
                      </a:r>
                      <a:endParaRPr lang="en-US" sz="440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1670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grade the existing IQM Pro Web Client to a contemporary and modern user interface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veraging ReactJS for the implementation of a new module within the IQM Pro Web Client.</a:t>
                      </a:r>
                      <a:endParaRPr kumimoji="0" lang="en-GB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16974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848DC8B-3ECC-DB51-BDF9-101ED1E660A8}"/>
              </a:ext>
            </a:extLst>
          </p:cNvPr>
          <p:cNvSpPr/>
          <p:nvPr/>
        </p:nvSpPr>
        <p:spPr>
          <a:xfrm>
            <a:off x="6738120" y="1161946"/>
            <a:ext cx="3011621" cy="4946477"/>
          </a:xfrm>
          <a:prstGeom prst="rect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29D3D5-1BF5-E64E-FCEC-0F5253CEA358}"/>
              </a:ext>
            </a:extLst>
          </p:cNvPr>
          <p:cNvSpPr/>
          <p:nvPr/>
        </p:nvSpPr>
        <p:spPr>
          <a:xfrm>
            <a:off x="751570" y="1196388"/>
            <a:ext cx="3011621" cy="494647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292AD809-5249-A9E3-99D6-6F6F1D36A2F8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n Client vs Web Client</a:t>
                      </a:r>
                      <a:endParaRPr lang="en-US" sz="36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0" b="0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66327F33-2806-75C7-3F67-61B4ADA35ED0}"/>
              </a:ext>
            </a:extLst>
          </p:cNvPr>
          <p:cNvSpPr txBox="1"/>
          <p:nvPr/>
        </p:nvSpPr>
        <p:spPr>
          <a:xfrm>
            <a:off x="751571" y="1319838"/>
            <a:ext cx="3077497" cy="298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Win Clie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C7CEAA0-2393-38F1-3947-A853D3EC67A1}"/>
              </a:ext>
            </a:extLst>
          </p:cNvPr>
          <p:cNvSpPr txBox="1"/>
          <p:nvPr/>
        </p:nvSpPr>
        <p:spPr>
          <a:xfrm>
            <a:off x="6738120" y="1293991"/>
            <a:ext cx="3077497" cy="298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Web Clie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F86747-DA28-7B09-2DAA-09F0732C79C6}"/>
              </a:ext>
            </a:extLst>
          </p:cNvPr>
          <p:cNvSpPr txBox="1"/>
          <p:nvPr/>
        </p:nvSpPr>
        <p:spPr>
          <a:xfrm>
            <a:off x="0" y="6532429"/>
            <a:ext cx="71908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*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 Audit Log Viewer is in another standalone Win Client App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DBDF91A-E2BF-614A-18CD-EDD1794AF8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5027" y="1616702"/>
            <a:ext cx="3005530" cy="394294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D9A4E8F-DA59-3BC6-8C25-3807B9A9AAF4}"/>
              </a:ext>
            </a:extLst>
          </p:cNvPr>
          <p:cNvGrpSpPr/>
          <p:nvPr/>
        </p:nvGrpSpPr>
        <p:grpSpPr>
          <a:xfrm>
            <a:off x="4884256" y="3292021"/>
            <a:ext cx="1030224" cy="713025"/>
            <a:chOff x="5106760" y="3258259"/>
            <a:chExt cx="1030224" cy="713025"/>
          </a:xfrm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3664658F-32D2-4EDD-8360-F7B5E3BE26E3}"/>
                </a:ext>
              </a:extLst>
            </p:cNvPr>
            <p:cNvSpPr/>
            <p:nvPr/>
          </p:nvSpPr>
          <p:spPr>
            <a:xfrm>
              <a:off x="5106760" y="3267196"/>
              <a:ext cx="585216" cy="704088"/>
            </a:xfrm>
            <a:prstGeom prst="chevron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3C07FF93-7FC3-B024-6B26-35DF69A116AE}"/>
                </a:ext>
              </a:extLst>
            </p:cNvPr>
            <p:cNvSpPr/>
            <p:nvPr/>
          </p:nvSpPr>
          <p:spPr>
            <a:xfrm>
              <a:off x="5551768" y="3258259"/>
              <a:ext cx="585216" cy="704088"/>
            </a:xfrm>
            <a:prstGeom prst="chevron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6DFDC454-F134-BFDD-E2B8-357F131682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3" r="58825" b="19181"/>
          <a:stretch/>
        </p:blipFill>
        <p:spPr>
          <a:xfrm>
            <a:off x="889817" y="2735551"/>
            <a:ext cx="1892543" cy="2793434"/>
          </a:xfrm>
          <a:prstGeom prst="rect">
            <a:avLst/>
          </a:prstGeom>
          <a:ln>
            <a:noFill/>
          </a:ln>
          <a:effectLst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11973FE-572C-5693-1D43-DD7394F8B36B}"/>
              </a:ext>
            </a:extLst>
          </p:cNvPr>
          <p:cNvSpPr/>
          <p:nvPr/>
        </p:nvSpPr>
        <p:spPr>
          <a:xfrm>
            <a:off x="890755" y="2744728"/>
            <a:ext cx="1642133" cy="2793434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4050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B991F8-03B3-6D41-C5F3-F68DCA8E61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3457" y="1661829"/>
            <a:ext cx="2358132" cy="480553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BB44C52-D4E2-DFC3-3524-8D7CE55675B8}"/>
              </a:ext>
            </a:extLst>
          </p:cNvPr>
          <p:cNvSpPr/>
          <p:nvPr/>
        </p:nvSpPr>
        <p:spPr>
          <a:xfrm>
            <a:off x="1764184" y="3588175"/>
            <a:ext cx="2198954" cy="1239857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4050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F97F8A1-9331-BB7C-A3A1-CBD31C8C2C2C}"/>
              </a:ext>
            </a:extLst>
          </p:cNvPr>
          <p:cNvSpPr/>
          <p:nvPr/>
        </p:nvSpPr>
        <p:spPr>
          <a:xfrm>
            <a:off x="7075028" y="5429121"/>
            <a:ext cx="3005529" cy="1103308"/>
          </a:xfrm>
          <a:prstGeom prst="roundRect">
            <a:avLst/>
          </a:prstGeom>
          <a:solidFill>
            <a:schemeClr val="accent6">
              <a:alpha val="50000"/>
            </a:schemeClr>
          </a:solidFill>
          <a:ln w="28575">
            <a:solidFill>
              <a:schemeClr val="accent3"/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Peop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raining Cour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uppli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udit Log View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BB0E8E-5C6E-8D1E-4D97-BADF8529B0F2}"/>
              </a:ext>
            </a:extLst>
          </p:cNvPr>
          <p:cNvSpPr txBox="1"/>
          <p:nvPr/>
        </p:nvSpPr>
        <p:spPr>
          <a:xfrm>
            <a:off x="350770" y="2557097"/>
            <a:ext cx="65793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7975469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isting: Web Client using XAF Framework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11" name="Content Placeholder 10" descr="A screenshot of a computer&#10;&#10;Description automatically generated">
            <a:extLst>
              <a:ext uri="{FF2B5EF4-FFF2-40B4-BE49-F238E27FC236}">
                <a16:creationId xmlns:a16="http://schemas.microsoft.com/office/drawing/2014/main" id="{48DB4F7D-738D-2206-3827-003B73321F68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673100" y="1362428"/>
            <a:ext cx="11163299" cy="5404455"/>
          </a:xfrm>
          <a:ln>
            <a:solidFill>
              <a:schemeClr val="accent6"/>
            </a:solidFill>
          </a:ln>
        </p:spPr>
      </p:pic>
    </p:spTree>
    <p:extLst>
      <p:ext uri="{BB962C8B-B14F-4D97-AF65-F5344CB8AC3E}">
        <p14:creationId xmlns:p14="http://schemas.microsoft.com/office/powerpoint/2010/main" val="3966735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F9E0669A-F3D3-94B4-B960-58AC099CBEC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/>
        </p:blipFill>
        <p:spPr>
          <a:xfrm>
            <a:off x="679620" y="1567847"/>
            <a:ext cx="10420352" cy="4693602"/>
          </a:xfr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FF3D63D-4173-6071-238B-8240FA832988}"/>
              </a:ext>
            </a:extLst>
          </p:cNvPr>
          <p:cNvSpPr/>
          <p:nvPr/>
        </p:nvSpPr>
        <p:spPr>
          <a:xfrm>
            <a:off x="679619" y="1567846"/>
            <a:ext cx="10420351" cy="4693601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9DB7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742791" cy="121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3568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463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742843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tegration of ReactJS into IQM Pro Web Client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7B9AA75C-DD9E-C8AE-1234-35C56CFC7FC8}"/>
              </a:ext>
            </a:extLst>
          </p:cNvPr>
          <p:cNvSpPr/>
          <p:nvPr/>
        </p:nvSpPr>
        <p:spPr>
          <a:xfrm>
            <a:off x="2530763" y="1958108"/>
            <a:ext cx="8451273" cy="4221019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C738D87-71A5-47C0-DF42-09422B7578DF}"/>
              </a:ext>
            </a:extLst>
          </p:cNvPr>
          <p:cNvSpPr/>
          <p:nvPr/>
        </p:nvSpPr>
        <p:spPr>
          <a:xfrm>
            <a:off x="10329803" y="3429000"/>
            <a:ext cx="1422400" cy="133696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ReactJ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1%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A759EB-B77A-F6D0-A869-F86C139DCAE4}"/>
              </a:ext>
            </a:extLst>
          </p:cNvPr>
          <p:cNvSpPr/>
          <p:nvPr/>
        </p:nvSpPr>
        <p:spPr>
          <a:xfrm>
            <a:off x="8296478" y="821615"/>
            <a:ext cx="1577196" cy="149245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XA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DevExpres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99%</a:t>
            </a:r>
          </a:p>
        </p:txBody>
      </p:sp>
    </p:spTree>
    <p:extLst>
      <p:ext uri="{BB962C8B-B14F-4D97-AF65-F5344CB8AC3E}">
        <p14:creationId xmlns:p14="http://schemas.microsoft.com/office/powerpoint/2010/main" val="21750624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 – Modernize IQM Pro Web UI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826BC-4056-BA67-DDC8-A3BB1B80789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/>
              <a:t>Build main layout (Navigation panel, User profile, </a:t>
            </a:r>
            <a:r>
              <a:rPr lang="en-US" err="1"/>
              <a:t>etc</a:t>
            </a:r>
            <a:r>
              <a:rPr lang="en-US"/>
              <a:t>) using ReactJS</a:t>
            </a:r>
          </a:p>
          <a:p>
            <a:pPr marL="442595" indent="-514350">
              <a:buFont typeface="+mj-lt"/>
              <a:buAutoNum type="arabicPeriod"/>
            </a:pPr>
            <a:r>
              <a:rPr lang="en-US"/>
              <a:t>Integrate existing XAF web pages into ReactJS</a:t>
            </a:r>
          </a:p>
          <a:p>
            <a:pPr marL="514350" indent="-514350">
              <a:buAutoNum type="arabicPeriod"/>
            </a:pPr>
            <a:r>
              <a:rPr lang="en-US"/>
              <a:t>Implement new module with ReactJS by using </a:t>
            </a:r>
            <a:r>
              <a:rPr lang="en-US" sz="3000" b="1">
                <a:solidFill>
                  <a:schemeClr val="accent3"/>
                </a:solidFill>
              </a:rPr>
              <a:t>AI</a:t>
            </a:r>
            <a:r>
              <a:rPr lang="en-US"/>
              <a:t> and </a:t>
            </a:r>
            <a:r>
              <a:rPr lang="en-US" sz="3000" b="1">
                <a:solidFill>
                  <a:schemeClr val="accent3"/>
                </a:solidFill>
              </a:rPr>
              <a:t>Helix+</a:t>
            </a:r>
            <a:endParaRPr lang="en-US" b="1">
              <a:solidFill>
                <a:schemeClr val="accent3"/>
              </a:solidFill>
            </a:endParaRPr>
          </a:p>
          <a:p>
            <a:pPr lvl="1" indent="-300355"/>
            <a:r>
              <a:rPr lang="en-US"/>
              <a:t>Customer </a:t>
            </a:r>
            <a:r>
              <a:rPr lang="en-US" sz="2600" b="1">
                <a:solidFill>
                  <a:schemeClr val="accent3"/>
                </a:solidFill>
              </a:rPr>
              <a:t>√</a:t>
            </a:r>
            <a:endParaRPr lang="en-US" b="1">
              <a:solidFill>
                <a:schemeClr val="accent3"/>
              </a:solidFill>
            </a:endParaRPr>
          </a:p>
          <a:p>
            <a:pPr lvl="1" indent="-300355"/>
            <a:r>
              <a:rPr lang="en-US"/>
              <a:t>Audit Log Viewer </a:t>
            </a:r>
            <a:r>
              <a:rPr lang="en-US" sz="2600" b="1">
                <a:solidFill>
                  <a:schemeClr val="accent3"/>
                </a:solidFill>
              </a:rPr>
              <a:t>√</a:t>
            </a:r>
            <a:endParaRPr lang="en-US" b="1">
              <a:solidFill>
                <a:schemeClr val="accent3"/>
              </a:solidFill>
            </a:endParaRPr>
          </a:p>
          <a:p>
            <a:pPr lvl="1" indent="-300355"/>
            <a:r>
              <a:rPr lang="en-US"/>
              <a:t>Supplier</a:t>
            </a:r>
          </a:p>
          <a:p>
            <a:pPr lvl="1" indent="-300355"/>
            <a:r>
              <a:rPr lang="en-US"/>
              <a:t>People</a:t>
            </a:r>
          </a:p>
          <a:p>
            <a:pPr lvl="1" indent="-300355"/>
            <a:r>
              <a:rPr lang="en-US"/>
              <a:t>Training Courses</a:t>
            </a:r>
          </a:p>
          <a:p>
            <a:pPr marL="385445" lvl="1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2407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 1 &amp; 2: XAF in ReactJS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AA8CD26-F324-EAD9-6DF1-1E2DF07C8B8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D211C7-3EA0-3BD2-FADB-E6314AC486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97116" y="1366823"/>
            <a:ext cx="10397767" cy="52422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14217B4-54EA-6FC2-7824-EFDFF7ACF4D7}"/>
              </a:ext>
            </a:extLst>
          </p:cNvPr>
          <p:cNvSpPr/>
          <p:nvPr/>
        </p:nvSpPr>
        <p:spPr>
          <a:xfrm>
            <a:off x="1563624" y="1993392"/>
            <a:ext cx="9564624" cy="4114800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9DB7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140F57-410B-0A60-A78C-0918853BE80E}"/>
              </a:ext>
            </a:extLst>
          </p:cNvPr>
          <p:cNvSpPr/>
          <p:nvPr/>
        </p:nvSpPr>
        <p:spPr>
          <a:xfrm>
            <a:off x="897116" y="1366823"/>
            <a:ext cx="10397767" cy="5178004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FACA165-C2C5-4C1A-AE8E-827E96018AAD}"/>
              </a:ext>
            </a:extLst>
          </p:cNvPr>
          <p:cNvSpPr/>
          <p:nvPr/>
        </p:nvSpPr>
        <p:spPr>
          <a:xfrm>
            <a:off x="8414524" y="855575"/>
            <a:ext cx="960120" cy="944916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ReactJ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D696C98-F80E-603C-F0DD-7D9774B88D70}"/>
              </a:ext>
            </a:extLst>
          </p:cNvPr>
          <p:cNvSpPr/>
          <p:nvPr/>
        </p:nvSpPr>
        <p:spPr>
          <a:xfrm>
            <a:off x="9378714" y="1511966"/>
            <a:ext cx="960120" cy="94491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XAF</a:t>
            </a:r>
          </a:p>
        </p:txBody>
      </p:sp>
    </p:spTree>
    <p:extLst>
      <p:ext uri="{BB962C8B-B14F-4D97-AF65-F5344CB8AC3E}">
        <p14:creationId xmlns:p14="http://schemas.microsoft.com/office/powerpoint/2010/main" val="38595921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/>
              <a:t>Areas where </a:t>
            </a:r>
            <a:r>
              <a:rPr lang="en-GB" sz="2800" err="1"/>
              <a:t>GenAI</a:t>
            </a:r>
            <a:r>
              <a:rPr lang="en-GB" sz="2800"/>
              <a:t> tools can support software develop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chemeClr val="bg2">
                    <a:lumMod val="20000"/>
                    <a:lumOff val="80000"/>
                  </a:schemeClr>
                </a:solidFill>
              </a:rPr>
              <a:t>Code writing assistanc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chemeClr val="bg2">
                    <a:lumMod val="20000"/>
                    <a:lumOff val="80000"/>
                  </a:schemeClr>
                </a:solidFill>
              </a:rPr>
              <a:t>Code understand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chemeClr val="bg2">
                    <a:lumMod val="20000"/>
                    <a:lumOff val="80000"/>
                  </a:schemeClr>
                </a:solidFill>
              </a:rPr>
              <a:t>Remediating tech deb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Accelerate code writing process </a:t>
            </a:r>
            <a:r>
              <a:rPr lang="en-GB" sz="1200"/>
              <a:t>and tests through tools like GitHub Copilo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/>
              <a:t>Use </a:t>
            </a:r>
            <a:r>
              <a:rPr lang="en-GB" sz="1200" err="1"/>
              <a:t>GenAI</a:t>
            </a:r>
            <a:r>
              <a:rPr lang="en-GB" sz="1200"/>
              <a:t> tools for </a:t>
            </a:r>
            <a:r>
              <a:rPr lang="en-GB" sz="1200" b="1"/>
              <a:t>documentation and code reviews </a:t>
            </a:r>
            <a:r>
              <a:rPr lang="en-GB" sz="1200"/>
              <a:t>to provide leverage to engineers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/>
              <a:t>Use </a:t>
            </a:r>
            <a:r>
              <a:rPr lang="en-GB" sz="1200" err="1"/>
              <a:t>GenAI</a:t>
            </a:r>
            <a:r>
              <a:rPr lang="en-GB" sz="1200"/>
              <a:t> tools to </a:t>
            </a:r>
            <a:r>
              <a:rPr lang="en-GB" sz="1200" b="1"/>
              <a:t>reduce time and effort in resolving complex tech debt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D78751D-12B1-3CC0-83B1-228B6F584063}"/>
              </a:ext>
            </a:extLst>
          </p:cNvPr>
          <p:cNvSpPr/>
          <p:nvPr/>
        </p:nvSpPr>
        <p:spPr>
          <a:xfrm>
            <a:off x="8803381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5E147B6-B43F-2EB3-4DB2-556E3B0294A8}"/>
              </a:ext>
            </a:extLst>
          </p:cNvPr>
          <p:cNvSpPr/>
          <p:nvPr/>
        </p:nvSpPr>
        <p:spPr>
          <a:xfrm>
            <a:off x="5831633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2EBC6DA-9298-8652-CFD2-F5A29DDBEA05}"/>
              </a:ext>
            </a:extLst>
          </p:cNvPr>
          <p:cNvSpPr/>
          <p:nvPr/>
        </p:nvSpPr>
        <p:spPr>
          <a:xfrm>
            <a:off x="2942361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7158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ysClr val="windowText" lastClr="000000"/>
                </a:solidFill>
              </a:rPr>
              <a:t>What is it?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2753312"/>
            <a:ext cx="2782225" cy="11268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ysClr val="windowText" lastClr="000000"/>
                </a:solidFill>
              </a:rPr>
              <a:t>What are the benefits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2753313"/>
            <a:ext cx="2782225" cy="8694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Makes development faster </a:t>
            </a:r>
            <a:r>
              <a:rPr lang="en-GB" sz="1200"/>
              <a:t>and more efficient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10-30% </a:t>
            </a:r>
            <a:r>
              <a:rPr lang="en-GB" sz="1200"/>
              <a:t>efficiency gain in code writing and testing proces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192200"/>
            <a:ext cx="2782225" cy="9872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ysClr val="windowText" lastClr="000000"/>
                </a:solidFill>
              </a:rPr>
              <a:t>How easily can this be realised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2781240"/>
            <a:ext cx="2782225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Can mitigate senior engineer bottlenecks in software development process </a:t>
            </a:r>
            <a:r>
              <a:rPr lang="en-GB" sz="1200"/>
              <a:t>and accelerate roadmap over ti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10353" y="2781240"/>
            <a:ext cx="2782225" cy="123880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Reduced hosting costs, mitigate drag on developer productivity and reduce operational risk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200"/>
              <a:t>Additional benefits on reduced productivity drag and operational risk</a:t>
            </a:r>
          </a:p>
        </p:txBody>
      </p:sp>
      <p:pic>
        <p:nvPicPr>
          <p:cNvPr id="23" name="Graphic 22" descr="Harvey Balls 75% with solid fill">
            <a:extLst>
              <a:ext uri="{FF2B5EF4-FFF2-40B4-BE49-F238E27FC236}">
                <a16:creationId xmlns:a16="http://schemas.microsoft.com/office/drawing/2014/main" id="{9D04467B-0418-5255-2D4A-576C6F77E7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93240" y="4192200"/>
            <a:ext cx="482721" cy="482721"/>
          </a:xfrm>
          <a:prstGeom prst="rect">
            <a:avLst/>
          </a:prstGeom>
        </p:spPr>
      </p:pic>
      <p:pic>
        <p:nvPicPr>
          <p:cNvPr id="26" name="Graphic 25" descr="Harvey Balls 100% with solid fill">
            <a:extLst>
              <a:ext uri="{FF2B5EF4-FFF2-40B4-BE49-F238E27FC236}">
                <a16:creationId xmlns:a16="http://schemas.microsoft.com/office/drawing/2014/main" id="{3CCC5B48-E80A-6822-DCB3-D24DB02D20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28834" y="4220127"/>
            <a:ext cx="482722" cy="482722"/>
          </a:xfrm>
          <a:prstGeom prst="rect">
            <a:avLst/>
          </a:prstGeom>
        </p:spPr>
      </p:pic>
      <p:pic>
        <p:nvPicPr>
          <p:cNvPr id="28" name="Graphic 27" descr="Harvey Balls 50% with solid fill">
            <a:extLst>
              <a:ext uri="{FF2B5EF4-FFF2-40B4-BE49-F238E27FC236}">
                <a16:creationId xmlns:a16="http://schemas.microsoft.com/office/drawing/2014/main" id="{3B8FE1BA-2320-2115-0A41-73F01CF6AD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9" y="4220127"/>
            <a:ext cx="482721" cy="48272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608238" y="4192200"/>
            <a:ext cx="2223395" cy="19082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Easy to deploy tools and the way they are used is common across orgs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Challenge lies in converting faster code generation to efficiency &amp; accelerated execution to drive scaled EBITDA impa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9483895" y="4220127"/>
            <a:ext cx="222339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asy to deploy tools, review processes will naturally evolve over tim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669221" y="4220127"/>
            <a:ext cx="2223395" cy="13542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Underlying issues often complex and/or poorly understood 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/>
              <a:t>May require custom tooling - can be complex and iterative</a:t>
            </a:r>
          </a:p>
        </p:txBody>
      </p:sp>
      <p:pic>
        <p:nvPicPr>
          <p:cNvPr id="4" name="Graphic 3" descr="Harvey Balls 0% with solid fill">
            <a:extLst>
              <a:ext uri="{FF2B5EF4-FFF2-40B4-BE49-F238E27FC236}">
                <a16:creationId xmlns:a16="http://schemas.microsoft.com/office/drawing/2014/main" id="{42719D2E-4388-2AC5-5359-38986F2159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99610" y="6359531"/>
            <a:ext cx="306610" cy="291600"/>
          </a:xfrm>
          <a:prstGeom prst="rect">
            <a:avLst/>
          </a:prstGeom>
        </p:spPr>
      </p:pic>
      <p:pic>
        <p:nvPicPr>
          <p:cNvPr id="10" name="Graphic 9" descr="Harvey Balls 100% with solid fill">
            <a:extLst>
              <a:ext uri="{FF2B5EF4-FFF2-40B4-BE49-F238E27FC236}">
                <a16:creationId xmlns:a16="http://schemas.microsoft.com/office/drawing/2014/main" id="{F9483DD5-313D-F49F-30DE-60E0D16DA9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42546" y="6360249"/>
            <a:ext cx="305102" cy="290164"/>
          </a:xfrm>
          <a:prstGeom prst="rect">
            <a:avLst/>
          </a:prstGeom>
        </p:spPr>
      </p:pic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D396362-D683-79C0-4EE3-0D5321A4745B}"/>
              </a:ext>
            </a:extLst>
          </p:cNvPr>
          <p:cNvSpPr/>
          <p:nvPr/>
        </p:nvSpPr>
        <p:spPr>
          <a:xfrm flipH="1">
            <a:off x="10181125" y="6368964"/>
            <a:ext cx="786516" cy="27273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1D3FBB-1D8A-50A7-F7C1-87E4DF243C1C}"/>
              </a:ext>
            </a:extLst>
          </p:cNvPr>
          <p:cNvSpPr txBox="1"/>
          <p:nvPr/>
        </p:nvSpPr>
        <p:spPr>
          <a:xfrm>
            <a:off x="10604554" y="660908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/>
              <a:t>Eas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33BA13-E108-1F8D-F7F2-0BEB00AA630C}"/>
              </a:ext>
            </a:extLst>
          </p:cNvPr>
          <p:cNvSpPr txBox="1"/>
          <p:nvPr/>
        </p:nvSpPr>
        <p:spPr>
          <a:xfrm>
            <a:off x="9320481" y="660908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/>
              <a:t>Difficult</a:t>
            </a:r>
          </a:p>
        </p:txBody>
      </p:sp>
    </p:spTree>
    <p:extLst>
      <p:ext uri="{BB962C8B-B14F-4D97-AF65-F5344CB8AC3E}">
        <p14:creationId xmlns:p14="http://schemas.microsoft.com/office/powerpoint/2010/main" val="12284492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2C27926-7570-8536-1CF0-580FECBC228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596" y="1673347"/>
            <a:ext cx="8912019" cy="4007527"/>
          </a:xfrm>
          <a:prstGeom prst="rect">
            <a:avLst/>
          </a:prstGeom>
        </p:spPr>
      </p:pic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 3: New module in ReactJS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20A4625-2EFF-8BF1-5307-EF79F27824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1791" y="2174298"/>
            <a:ext cx="7494697" cy="3391300"/>
          </a:xfrm>
          <a:prstGeom prst="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57788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ED81396-BCA6-58AE-67AC-03708BCE5FC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829222" y="1558766"/>
            <a:ext cx="1131812" cy="1114444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New Modu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F152CD-28A3-182C-193F-6DA898FCF3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3"/>
          <a:stretch/>
        </p:blipFill>
        <p:spPr>
          <a:xfrm>
            <a:off x="6178298" y="3252246"/>
            <a:ext cx="4596380" cy="3467945"/>
          </a:xfrm>
          <a:prstGeom prst="rect">
            <a:avLst/>
          </a:prstGeom>
          <a:ln>
            <a:solidFill>
              <a:schemeClr val="accent3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81044C-50CA-35A3-2BE0-ABC257A3B0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3954" y="1292402"/>
            <a:ext cx="3548916" cy="3391300"/>
          </a:xfrm>
          <a:prstGeom prst="rect">
            <a:avLst/>
          </a:prstGeom>
          <a:ln>
            <a:solidFill>
              <a:schemeClr val="accent3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13" name="Arrow: Left 12">
            <a:extLst>
              <a:ext uri="{FF2B5EF4-FFF2-40B4-BE49-F238E27FC236}">
                <a16:creationId xmlns:a16="http://schemas.microsoft.com/office/drawing/2014/main" id="{35973E8F-B2A1-A064-9394-5969C78D3D1B}"/>
              </a:ext>
            </a:extLst>
          </p:cNvPr>
          <p:cNvSpPr/>
          <p:nvPr/>
        </p:nvSpPr>
        <p:spPr>
          <a:xfrm>
            <a:off x="5048701" y="4548528"/>
            <a:ext cx="1129597" cy="437690"/>
          </a:xfrm>
          <a:prstGeom prst="left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2A14F377-2F9B-7C28-558E-D11D8DD6FE18}"/>
              </a:ext>
            </a:extLst>
          </p:cNvPr>
          <p:cNvSpPr/>
          <p:nvPr/>
        </p:nvSpPr>
        <p:spPr>
          <a:xfrm>
            <a:off x="7334357" y="2755178"/>
            <a:ext cx="1129597" cy="437690"/>
          </a:xfrm>
          <a:prstGeom prst="left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99501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ut of Scope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826BC-4056-BA67-DDC8-A3BB1B80789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User Permission</a:t>
            </a:r>
          </a:p>
          <a:p>
            <a:r>
              <a:rPr lang="en-US"/>
              <a:t>Audit Log</a:t>
            </a:r>
          </a:p>
          <a:p>
            <a:r>
              <a:rPr lang="en-US"/>
              <a:t>Concurrency</a:t>
            </a:r>
          </a:p>
          <a:p>
            <a:r>
              <a:rPr lang="en-US"/>
              <a:t>Localization (Multi Language Support)</a:t>
            </a:r>
          </a:p>
          <a:p>
            <a:r>
              <a:rPr lang="en-US"/>
              <a:t>Login Page</a:t>
            </a:r>
          </a:p>
          <a:p>
            <a:r>
              <a:rPr lang="en-US"/>
              <a:t>E-Signature</a:t>
            </a:r>
          </a:p>
        </p:txBody>
      </p:sp>
    </p:spTree>
    <p:extLst>
      <p:ext uri="{BB962C8B-B14F-4D97-AF65-F5344CB8AC3E}">
        <p14:creationId xmlns:p14="http://schemas.microsoft.com/office/powerpoint/2010/main" val="415524128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tential Challenge</a:t>
                      </a:r>
                      <a:endParaRPr lang="en-GB" sz="3600" kern="120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826BC-4056-BA67-DDC8-A3BB1B8078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898" y="2100165"/>
            <a:ext cx="5776083" cy="10579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>
                <a:solidFill>
                  <a:schemeClr val="bg1"/>
                </a:solidFill>
              </a:rPr>
              <a:t>Not all team members are familiar with IQM Pro developmen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7140B3-69EC-8254-7111-A3E5F9CED2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898" y="1740166"/>
            <a:ext cx="5776083" cy="359999"/>
          </a:xfrm>
        </p:spPr>
        <p:txBody>
          <a:bodyPr/>
          <a:lstStyle/>
          <a:p>
            <a:r>
              <a:rPr lang="en-US"/>
              <a:t>Challenge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89091E-5188-3A30-CC3A-58B3DAB5B2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898" y="3715209"/>
            <a:ext cx="5776083" cy="1057911"/>
          </a:xfrm>
        </p:spPr>
        <p:txBody>
          <a:bodyPr/>
          <a:lstStyle/>
          <a:p>
            <a:pPr marL="0" indent="0">
              <a:buNone/>
            </a:pPr>
            <a:r>
              <a:rPr lang="en-US" sz="1800">
                <a:solidFill>
                  <a:schemeClr val="bg1"/>
                </a:solidFill>
              </a:rPr>
              <a:t>Inconsistency in UI presentation between the new ReactJS module and the existing XAF modu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57F71AB-95F7-9250-8923-7C4396EA46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898" y="3355210"/>
            <a:ext cx="5776083" cy="359999"/>
          </a:xfrm>
        </p:spPr>
        <p:txBody>
          <a:bodyPr/>
          <a:lstStyle/>
          <a:p>
            <a:r>
              <a:rPr lang="en-US"/>
              <a:t>Challenge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1F79E0-8AB3-5F48-58AF-BBABCE8A55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0898" y="5318135"/>
            <a:ext cx="5776083" cy="1057911"/>
          </a:xfrm>
        </p:spPr>
        <p:txBody>
          <a:bodyPr/>
          <a:lstStyle/>
          <a:p>
            <a:pPr marL="0" indent="0">
              <a:buNone/>
            </a:pPr>
            <a:r>
              <a:rPr lang="en-US" sz="1800">
                <a:solidFill>
                  <a:schemeClr val="bg1"/>
                </a:solidFill>
              </a:rPr>
              <a:t>Certain functionalities remain exclusive to XAF Web Forms and cannot be migrated to ReactJS/API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A2B638-9E17-21CC-AD10-4004BD84FB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898" y="4958136"/>
            <a:ext cx="5776083" cy="359999"/>
          </a:xfrm>
        </p:spPr>
        <p:txBody>
          <a:bodyPr/>
          <a:lstStyle/>
          <a:p>
            <a:r>
              <a:rPr lang="en-US"/>
              <a:t>Challenge 3</a:t>
            </a:r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CF33E4D6-E185-BED2-1D8A-EB9721B68712}"/>
              </a:ext>
            </a:extLst>
          </p:cNvPr>
          <p:cNvSpPr/>
          <p:nvPr/>
        </p:nvSpPr>
        <p:spPr>
          <a:xfrm>
            <a:off x="8211127" y="2539999"/>
            <a:ext cx="3309975" cy="3033037"/>
          </a:xfrm>
          <a:prstGeom prst="flowChartProcess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Explore 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I tools to generate ReactJS componen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25A09BC-72F2-060D-2620-3010826B2DB9}"/>
              </a:ext>
            </a:extLst>
          </p:cNvPr>
          <p:cNvGrpSpPr/>
          <p:nvPr/>
        </p:nvGrpSpPr>
        <p:grpSpPr>
          <a:xfrm>
            <a:off x="6813942" y="3700004"/>
            <a:ext cx="1030224" cy="713025"/>
            <a:chOff x="5106760" y="3258259"/>
            <a:chExt cx="1030224" cy="713025"/>
          </a:xfrm>
        </p:grpSpPr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5B8F6D54-5652-B4D4-E0C9-14372927C387}"/>
                </a:ext>
              </a:extLst>
            </p:cNvPr>
            <p:cNvSpPr/>
            <p:nvPr/>
          </p:nvSpPr>
          <p:spPr>
            <a:xfrm>
              <a:off x="5106760" y="3267196"/>
              <a:ext cx="585216" cy="704088"/>
            </a:xfrm>
            <a:prstGeom prst="chevron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13" name="Arrow: Chevron 12">
              <a:extLst>
                <a:ext uri="{FF2B5EF4-FFF2-40B4-BE49-F238E27FC236}">
                  <a16:creationId xmlns:a16="http://schemas.microsoft.com/office/drawing/2014/main" id="{2B54BC31-C3F1-DFC8-04A4-0DEEDCB5A4A5}"/>
                </a:ext>
              </a:extLst>
            </p:cNvPr>
            <p:cNvSpPr/>
            <p:nvPr/>
          </p:nvSpPr>
          <p:spPr>
            <a:xfrm>
              <a:off x="5551768" y="3258259"/>
              <a:ext cx="585216" cy="704088"/>
            </a:xfrm>
            <a:prstGeom prst="chevron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76504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4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5AC165-C75B-23CA-B082-4ECE50D225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2785" y="2109496"/>
            <a:ext cx="9910015" cy="10579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000">
                <a:solidFill>
                  <a:schemeClr val="bg1"/>
                </a:solidFill>
              </a:rPr>
              <a:t>Azman, Lance, Siew Y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468FFE-0112-3556-CC46-013F973681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2785" y="1749497"/>
            <a:ext cx="9910015" cy="359999"/>
          </a:xfrm>
        </p:spPr>
        <p:txBody>
          <a:bodyPr/>
          <a:lstStyle/>
          <a:p>
            <a:r>
              <a:rPr lang="en-US"/>
              <a:t>Implement new module (Customer, Audit log Viewer) with ReactJ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D81899-44EC-2F24-9459-12F5FB045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62784" y="3724540"/>
            <a:ext cx="9910015" cy="10579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000">
                <a:solidFill>
                  <a:schemeClr val="bg1"/>
                </a:solidFill>
              </a:rPr>
              <a:t>Jason, Chan F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BA2869-D36E-1AAE-76B7-5F170869C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62784" y="3364541"/>
            <a:ext cx="9910015" cy="359999"/>
          </a:xfrm>
        </p:spPr>
        <p:txBody>
          <a:bodyPr/>
          <a:lstStyle/>
          <a:p>
            <a:r>
              <a:rPr lang="en-US"/>
              <a:t>Implement New Module Back End AP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010246-86FD-92A8-6EAE-FD168CD6F3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62785" y="5327466"/>
            <a:ext cx="9910014" cy="10579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000">
                <a:solidFill>
                  <a:schemeClr val="bg1"/>
                </a:solidFill>
              </a:rPr>
              <a:t>Regine, Roney, </a:t>
            </a:r>
            <a:r>
              <a:rPr lang="en-US" sz="2000" err="1">
                <a:solidFill>
                  <a:schemeClr val="bg1"/>
                </a:solidFill>
              </a:rPr>
              <a:t>Khaasturi</a:t>
            </a: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92B5C9-5325-E518-E8B3-EF5D2FD195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62785" y="4967467"/>
            <a:ext cx="9910014" cy="359999"/>
          </a:xfrm>
        </p:spPr>
        <p:txBody>
          <a:bodyPr/>
          <a:lstStyle/>
          <a:p>
            <a:r>
              <a:rPr lang="en-US"/>
              <a:t>Integrate existing XAF web pages into ReactJS</a:t>
            </a:r>
          </a:p>
        </p:txBody>
      </p:sp>
      <p:graphicFrame>
        <p:nvGraphicFramePr>
          <p:cNvPr id="12" name="Title 1">
            <a:extLst>
              <a:ext uri="{FF2B5EF4-FFF2-40B4-BE49-F238E27FC236}">
                <a16:creationId xmlns:a16="http://schemas.microsoft.com/office/drawing/2014/main" id="{4764D310-3B80-830E-52E2-33210F94B0D1}"/>
              </a:ext>
            </a:extLst>
          </p:cNvPr>
          <p:cNvGraphicFramePr>
            <a:graphicFrameLocks noGrp="1"/>
          </p:cNvGraphicFramePr>
          <p:nvPr/>
        </p:nvGraphicFramePr>
        <p:xfrm>
          <a:off x="0" y="313173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36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am Members Task Assignment</a:t>
                      </a: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4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29771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 1">
            <a:extLst>
              <a:ext uri="{FF2B5EF4-FFF2-40B4-BE49-F238E27FC236}">
                <a16:creationId xmlns:a16="http://schemas.microsoft.com/office/drawing/2014/main" id="{26EF1262-BB0F-649D-FC80-6A03DDF1F600}"/>
              </a:ext>
            </a:extLst>
          </p:cNvPr>
          <p:cNvGraphicFramePr>
            <a:graphicFrameLocks noGrp="1"/>
          </p:cNvGraphicFramePr>
          <p:nvPr/>
        </p:nvGraphicFramePr>
        <p:xfrm>
          <a:off x="0" y="307764"/>
          <a:ext cx="10883900" cy="81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59181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9553189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814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b="1" kern="120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hank You</a:t>
                      </a:r>
                      <a:endParaRPr lang="en-GB" sz="3600" kern="120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2CC6ACA-2645-5B63-5B00-B7011BF85A92}"/>
              </a:ext>
            </a:extLst>
          </p:cNvPr>
          <p:cNvSpPr txBox="1"/>
          <p:nvPr/>
        </p:nvSpPr>
        <p:spPr>
          <a:xfrm>
            <a:off x="1307690" y="2133289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3222669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itle">
            <a:extLst>
              <a:ext uri="{FF2B5EF4-FFF2-40B4-BE49-F238E27FC236}">
                <a16:creationId xmlns:a16="http://schemas.microsoft.com/office/drawing/2014/main" id="{556FA651-DCDF-8532-DD1D-CD96908BDE7F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B Reboot 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ckathon 2023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2" name="Picture Placeholder 3">
            <a:extLst>
              <a:ext uri="{FF2B5EF4-FFF2-40B4-BE49-F238E27FC236}">
                <a16:creationId xmlns:a16="http://schemas.microsoft.com/office/drawing/2014/main" id="{D9083EB2-0182-C8D2-03BC-0B5CC6B5E0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" b="5"/>
          <a:stretch/>
        </p:blipFill>
        <p:spPr>
          <a:xfrm>
            <a:off x="9469119" y="2561781"/>
            <a:ext cx="2160207" cy="21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83527966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4065459F-3FD1-AD73-FEC2-309EDB787E83}"/>
              </a:ext>
            </a:extLst>
          </p:cNvPr>
          <p:cNvSpPr txBox="1"/>
          <p:nvPr/>
        </p:nvSpPr>
        <p:spPr>
          <a:xfrm>
            <a:off x="358432" y="3968940"/>
            <a:ext cx="137608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Low YiFa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701220-2BA7-29AA-18FE-023B566A5993}"/>
              </a:ext>
            </a:extLst>
          </p:cNvPr>
          <p:cNvSpPr txBox="1"/>
          <p:nvPr/>
        </p:nvSpPr>
        <p:spPr>
          <a:xfrm>
            <a:off x="149472" y="4561516"/>
            <a:ext cx="181049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eni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oftware Engine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4DE825AB-D8DB-B76C-1F94-4138CEB7B969}"/>
              </a:ext>
            </a:extLst>
          </p:cNvPr>
          <p:cNvSpPr txBox="1"/>
          <p:nvPr/>
        </p:nvSpPr>
        <p:spPr>
          <a:xfrm>
            <a:off x="2359236" y="3962923"/>
            <a:ext cx="137608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rthur Chia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9F9F30CF-F301-578E-0A44-32E9579C2A59}"/>
              </a:ext>
            </a:extLst>
          </p:cNvPr>
          <p:cNvSpPr txBox="1"/>
          <p:nvPr/>
        </p:nvSpPr>
        <p:spPr>
          <a:xfrm>
            <a:off x="2175495" y="4561516"/>
            <a:ext cx="181049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oftware Development Team Lead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pic>
        <p:nvPicPr>
          <p:cNvPr id="1054" name="Picture 30">
            <a:extLst>
              <a:ext uri="{FF2B5EF4-FFF2-40B4-BE49-F238E27FC236}">
                <a16:creationId xmlns:a16="http://schemas.microsoft.com/office/drawing/2014/main" id="{3F922CFF-3B71-6D29-A750-7550C2544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107" y="1879607"/>
            <a:ext cx="1702732" cy="18259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50" name="Picture 26" descr="image">
            <a:extLst>
              <a:ext uri="{FF2B5EF4-FFF2-40B4-BE49-F238E27FC236}">
                <a16:creationId xmlns:a16="http://schemas.microsoft.com/office/drawing/2014/main" id="{D19E96AF-D636-EB0E-1FDC-A0F578B9B0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133" y="1882586"/>
            <a:ext cx="1768288" cy="18310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42" name="TextBox 1041">
            <a:extLst>
              <a:ext uri="{FF2B5EF4-FFF2-40B4-BE49-F238E27FC236}">
                <a16:creationId xmlns:a16="http://schemas.microsoft.com/office/drawing/2014/main" id="{D3B1ADCD-9286-E5FD-5D13-F7EE0613DF70}"/>
              </a:ext>
            </a:extLst>
          </p:cNvPr>
          <p:cNvSpPr txBox="1"/>
          <p:nvPr/>
        </p:nvSpPr>
        <p:spPr>
          <a:xfrm>
            <a:off x="4280501" y="3972227"/>
            <a:ext cx="163605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he Szuat Er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82D198C4-100A-3C52-1FC3-57C13D7F34C3}"/>
              </a:ext>
            </a:extLst>
          </p:cNvPr>
          <p:cNvSpPr txBox="1"/>
          <p:nvPr/>
        </p:nvSpPr>
        <p:spPr>
          <a:xfrm>
            <a:off x="4181982" y="4581551"/>
            <a:ext cx="181049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eni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oftware Engine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070" name="TextBox 4">
            <a:extLst>
              <a:ext uri="{FF2B5EF4-FFF2-40B4-BE49-F238E27FC236}">
                <a16:creationId xmlns:a16="http://schemas.microsoft.com/office/drawing/2014/main" id="{1BFCF705-40B0-2B85-9DF4-590990AA01FA}"/>
              </a:ext>
            </a:extLst>
          </p:cNvPr>
          <p:cNvSpPr txBox="1"/>
          <p:nvPr/>
        </p:nvSpPr>
        <p:spPr>
          <a:xfrm>
            <a:off x="6259362" y="3972227"/>
            <a:ext cx="1707775" cy="36933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Gyan Prakash</a:t>
            </a:r>
          </a:p>
        </p:txBody>
      </p:sp>
      <p:sp>
        <p:nvSpPr>
          <p:cNvPr id="1072" name="TextBox 6">
            <a:extLst>
              <a:ext uri="{FF2B5EF4-FFF2-40B4-BE49-F238E27FC236}">
                <a16:creationId xmlns:a16="http://schemas.microsoft.com/office/drawing/2014/main" id="{CFC08D0D-B5ED-B939-B3A2-BFFCE8098AE4}"/>
              </a:ext>
            </a:extLst>
          </p:cNvPr>
          <p:cNvSpPr txBox="1"/>
          <p:nvPr/>
        </p:nvSpPr>
        <p:spPr>
          <a:xfrm>
            <a:off x="6208005" y="4700016"/>
            <a:ext cx="1810490" cy="58477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I Engine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Level 2</a:t>
            </a:r>
          </a:p>
        </p:txBody>
      </p:sp>
      <p:sp>
        <p:nvSpPr>
          <p:cNvPr id="1077" name="TextBox 4">
            <a:extLst>
              <a:ext uri="{FF2B5EF4-FFF2-40B4-BE49-F238E27FC236}">
                <a16:creationId xmlns:a16="http://schemas.microsoft.com/office/drawing/2014/main" id="{F84DFCC0-0E43-60BA-9360-D6F924AEB816}"/>
              </a:ext>
            </a:extLst>
          </p:cNvPr>
          <p:cNvSpPr txBox="1"/>
          <p:nvPr/>
        </p:nvSpPr>
        <p:spPr>
          <a:xfrm>
            <a:off x="8199466" y="3785578"/>
            <a:ext cx="1779493" cy="64633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Mohd Anwar  Muslimen</a:t>
            </a:r>
          </a:p>
        </p:txBody>
      </p:sp>
      <p:sp>
        <p:nvSpPr>
          <p:cNvPr id="1079" name="TextBox 6">
            <a:extLst>
              <a:ext uri="{FF2B5EF4-FFF2-40B4-BE49-F238E27FC236}">
                <a16:creationId xmlns:a16="http://schemas.microsoft.com/office/drawing/2014/main" id="{7CC38E57-964D-8627-C3AA-6D37C1D2462E}"/>
              </a:ext>
            </a:extLst>
          </p:cNvPr>
          <p:cNvSpPr txBox="1"/>
          <p:nvPr/>
        </p:nvSpPr>
        <p:spPr>
          <a:xfrm>
            <a:off x="8242992" y="4700016"/>
            <a:ext cx="1801526" cy="58477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oftw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est Engine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1085" name="TextBox 4">
            <a:extLst>
              <a:ext uri="{FF2B5EF4-FFF2-40B4-BE49-F238E27FC236}">
                <a16:creationId xmlns:a16="http://schemas.microsoft.com/office/drawing/2014/main" id="{FA991048-CD54-0C1F-D391-9F7D0C369253}"/>
              </a:ext>
            </a:extLst>
          </p:cNvPr>
          <p:cNvSpPr txBox="1"/>
          <p:nvPr/>
        </p:nvSpPr>
        <p:spPr>
          <a:xfrm>
            <a:off x="10401301" y="3972227"/>
            <a:ext cx="1510552" cy="36933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Zack Ti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07FFC1-CBCE-A848-6816-AFC2FAC40F74}"/>
              </a:ext>
            </a:extLst>
          </p:cNvPr>
          <p:cNvGrpSpPr/>
          <p:nvPr/>
        </p:nvGrpSpPr>
        <p:grpSpPr>
          <a:xfrm>
            <a:off x="185412" y="4480560"/>
            <a:ext cx="11850798" cy="0"/>
            <a:chOff x="185412" y="4480560"/>
            <a:chExt cx="11850798" cy="16724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6B9611E-4D5E-C82F-C5B7-5AD52F8BF4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5412" y="4484647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6" name="Straight Arrow Connector 1025">
              <a:extLst>
                <a:ext uri="{FF2B5EF4-FFF2-40B4-BE49-F238E27FC236}">
                  <a16:creationId xmlns:a16="http://schemas.microsoft.com/office/drawing/2014/main" id="{09676CC7-C208-D45A-075B-5EB5030694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11435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3" name="Straight Arrow Connector 1042">
              <a:extLst>
                <a:ext uri="{FF2B5EF4-FFF2-40B4-BE49-F238E27FC236}">
                  <a16:creationId xmlns:a16="http://schemas.microsoft.com/office/drawing/2014/main" id="{F9C8D21F-00E8-AEA0-6191-B401CF63E9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19530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1" name="Straight Arrow Connector 1070">
              <a:extLst>
                <a:ext uri="{FF2B5EF4-FFF2-40B4-BE49-F238E27FC236}">
                  <a16:creationId xmlns:a16="http://schemas.microsoft.com/office/drawing/2014/main" id="{D5F6AF93-0285-47FB-AF56-6624F18A48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45553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8" name="Straight Arrow Connector 1077">
              <a:extLst>
                <a:ext uri="{FF2B5EF4-FFF2-40B4-BE49-F238E27FC236}">
                  <a16:creationId xmlns:a16="http://schemas.microsoft.com/office/drawing/2014/main" id="{559EE674-E5F4-6D38-7D54-9CB7AF491F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35717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6" name="Straight Arrow Connector 1085">
              <a:extLst>
                <a:ext uri="{FF2B5EF4-FFF2-40B4-BE49-F238E27FC236}">
                  <a16:creationId xmlns:a16="http://schemas.microsoft.com/office/drawing/2014/main" id="{331F77CE-5791-B57B-2F32-EDDE6E30A7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7600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7" name="TextBox 6">
            <a:extLst>
              <a:ext uri="{FF2B5EF4-FFF2-40B4-BE49-F238E27FC236}">
                <a16:creationId xmlns:a16="http://schemas.microsoft.com/office/drawing/2014/main" id="{7A9F526A-BE03-75AD-3F74-881C45FDEF07}"/>
              </a:ext>
            </a:extLst>
          </p:cNvPr>
          <p:cNvSpPr txBox="1"/>
          <p:nvPr/>
        </p:nvSpPr>
        <p:spPr>
          <a:xfrm>
            <a:off x="10251332" y="4730794"/>
            <a:ext cx="1810490" cy="58477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oftware Engine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pic>
        <p:nvPicPr>
          <p:cNvPr id="1046" name="Picture 22">
            <a:extLst>
              <a:ext uri="{FF2B5EF4-FFF2-40B4-BE49-F238E27FC236}">
                <a16:creationId xmlns:a16="http://schemas.microsoft.com/office/drawing/2014/main" id="{19204310-D78B-8815-FDD8-100D74C9B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495" y="1880286"/>
            <a:ext cx="1741287" cy="18219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1" descr="A person wearing a face mask&#10;&#10;Description automatically generated">
            <a:extLst>
              <a:ext uri="{FF2B5EF4-FFF2-40B4-BE49-F238E27FC236}">
                <a16:creationId xmlns:a16="http://schemas.microsoft.com/office/drawing/2014/main" id="{42E45C4F-9EEC-4216-5E93-1CC48FFC34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6956" y="1882664"/>
            <a:ext cx="1766047" cy="185569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Picture 19" descr="A person in a black shirt&#10;&#10;Description automatically generated">
            <a:extLst>
              <a:ext uri="{FF2B5EF4-FFF2-40B4-BE49-F238E27FC236}">
                <a16:creationId xmlns:a16="http://schemas.microsoft.com/office/drawing/2014/main" id="{D2D692E8-7DD9-8B5F-BDA1-3D03A35F24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8576" y="1877935"/>
            <a:ext cx="1739152" cy="18198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89" name="Picture 1088" descr="A person wearing glasses and a blue shirt&#10;&#10;Description automatically generated">
            <a:extLst>
              <a:ext uri="{FF2B5EF4-FFF2-40B4-BE49-F238E27FC236}">
                <a16:creationId xmlns:a16="http://schemas.microsoft.com/office/drawing/2014/main" id="{F4FC3EB9-7AAF-21FE-1E26-E8A7B5F7E5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73553" y="1887473"/>
            <a:ext cx="1766048" cy="18139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6" name="Title">
            <a:extLst>
              <a:ext uri="{FF2B5EF4-FFF2-40B4-BE49-F238E27FC236}">
                <a16:creationId xmlns:a16="http://schemas.microsoft.com/office/drawing/2014/main" id="{6DBD6716-BE33-B1F5-19BE-B51AD617022B}"/>
              </a:ext>
            </a:extLst>
          </p:cNvPr>
          <p:cNvGraphicFramePr>
            <a:graphicFrameLocks noGrp="1"/>
          </p:cNvGraphicFramePr>
          <p:nvPr/>
        </p:nvGraphicFramePr>
        <p:xfrm>
          <a:off x="361502" y="425975"/>
          <a:ext cx="4019998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17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62179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495640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dirty="0">
                          <a:latin typeface="+mj-lt"/>
                        </a:rPr>
                        <a:t>DB Rebooters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m members (Lovely and talented)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AA49BB95-16C5-DCB7-8ACF-5062CF243790}"/>
              </a:ext>
            </a:extLst>
          </p:cNvPr>
          <p:cNvGrpSpPr/>
          <p:nvPr/>
        </p:nvGrpSpPr>
        <p:grpSpPr>
          <a:xfrm>
            <a:off x="195107" y="5567331"/>
            <a:ext cx="11850798" cy="0"/>
            <a:chOff x="185412" y="4480560"/>
            <a:chExt cx="11850798" cy="16724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F383F6D-721D-5F03-1F41-A4298FD4AE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5412" y="4484647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6996455-62D7-1256-748B-D97696BA9A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11435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5736125D-ED8A-E963-FB99-6A50307B1C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19530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B266851B-4C32-F5B6-5166-A0FE4D706B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45553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9AC12D68-2D7C-65EF-E927-947ECB365F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35717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150F6123-BF88-B277-C08A-6AEAE798B8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7600" y="4480560"/>
              <a:ext cx="1738610" cy="12637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7ED7636-1B10-E45A-D953-6F394C8D21E9}"/>
              </a:ext>
            </a:extLst>
          </p:cNvPr>
          <p:cNvSpPr txBox="1"/>
          <p:nvPr/>
        </p:nvSpPr>
        <p:spPr>
          <a:xfrm>
            <a:off x="163966" y="5687567"/>
            <a:ext cx="1810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IQM (Pro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96BF3B-2D1B-6766-E2D2-42862BB60E7E}"/>
              </a:ext>
            </a:extLst>
          </p:cNvPr>
          <p:cNvSpPr txBox="1"/>
          <p:nvPr/>
        </p:nvSpPr>
        <p:spPr>
          <a:xfrm>
            <a:off x="2185190" y="5687567"/>
            <a:ext cx="1810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PleaseRe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2ADC8B4-22C3-5F7C-BC4A-C4AF2C11ACE4}"/>
              </a:ext>
            </a:extLst>
          </p:cNvPr>
          <p:cNvSpPr txBox="1"/>
          <p:nvPr/>
        </p:nvSpPr>
        <p:spPr>
          <a:xfrm>
            <a:off x="4173018" y="5687568"/>
            <a:ext cx="1810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IQM (Essential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F123865-CDAD-F6E2-181B-3DA0F501C55F}"/>
              </a:ext>
            </a:extLst>
          </p:cNvPr>
          <p:cNvSpPr txBox="1"/>
          <p:nvPr/>
        </p:nvSpPr>
        <p:spPr>
          <a:xfrm>
            <a:off x="6245553" y="5687568"/>
            <a:ext cx="181049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 pitchFamily="50" charset="0"/>
                <a:ea typeface="+mn-ea"/>
                <a:cs typeface="+mn-cs"/>
              </a:rPr>
              <a:t>Audit Analytics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 pitchFamily="50" charset="0"/>
                <a:ea typeface="+mn-ea"/>
                <a:cs typeface="+mn-cs"/>
              </a:rPr>
              <a:t>Platfor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C80283D-84E2-7645-D82F-DC90A287547D}"/>
              </a:ext>
            </a:extLst>
          </p:cNvPr>
          <p:cNvSpPr txBox="1"/>
          <p:nvPr/>
        </p:nvSpPr>
        <p:spPr>
          <a:xfrm>
            <a:off x="8209472" y="5687568"/>
            <a:ext cx="1810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PleaseRevie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471A19-56EE-07B4-A4C9-FE5EBDCD07C7}"/>
              </a:ext>
            </a:extLst>
          </p:cNvPr>
          <p:cNvSpPr txBox="1"/>
          <p:nvPr/>
        </p:nvSpPr>
        <p:spPr>
          <a:xfrm>
            <a:off x="10173391" y="5687568"/>
            <a:ext cx="1810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IQM (Pro)</a:t>
            </a:r>
          </a:p>
        </p:txBody>
      </p:sp>
    </p:spTree>
    <p:extLst>
      <p:ext uri="{BB962C8B-B14F-4D97-AF65-F5344CB8AC3E}">
        <p14:creationId xmlns:p14="http://schemas.microsoft.com/office/powerpoint/2010/main" val="215943251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DFCE3522-331B-9E1C-6D2B-4BD04B878002}"/>
              </a:ext>
            </a:extLst>
          </p:cNvPr>
          <p:cNvGraphicFramePr>
            <a:graphicFrameLocks noGrp="1"/>
          </p:cNvGraphicFramePr>
          <p:nvPr/>
        </p:nvGraphicFramePr>
        <p:xfrm>
          <a:off x="7000737" y="799792"/>
          <a:ext cx="5029019" cy="8761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98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2798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373045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opics</a:t>
                      </a:r>
                      <a:endParaRPr lang="en-US" sz="44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opes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FD99B84-8748-C77B-01C2-236861EBEE5D}"/>
              </a:ext>
            </a:extLst>
          </p:cNvPr>
          <p:cNvSpPr txBox="1"/>
          <p:nvPr/>
        </p:nvSpPr>
        <p:spPr>
          <a:xfrm>
            <a:off x="7285465" y="2413337"/>
            <a:ext cx="46537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Migrate Microsoft SQL to PostgreSQL.</a:t>
            </a: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Migrate binary data in database to AWS S3</a:t>
            </a:r>
          </a:p>
        </p:txBody>
      </p:sp>
    </p:spTree>
    <p:extLst>
      <p:ext uri="{BB962C8B-B14F-4D97-AF65-F5344CB8AC3E}">
        <p14:creationId xmlns:p14="http://schemas.microsoft.com/office/powerpoint/2010/main" val="178235038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D7650D0B-3A0F-C2D9-009E-64FE05521E0A}"/>
              </a:ext>
            </a:extLst>
          </p:cNvPr>
          <p:cNvGraphicFramePr>
            <a:graphicFrameLocks noGrp="1"/>
          </p:cNvGraphicFramePr>
          <p:nvPr/>
        </p:nvGraphicFramePr>
        <p:xfrm>
          <a:off x="7000737" y="799792"/>
          <a:ext cx="5029019" cy="8761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987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27987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373045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dirty="0">
                          <a:latin typeface="+mj-lt"/>
                        </a:rPr>
                        <a:t>IQM (Pro)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deagen Quality Management (f.k.a QPulse 7)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65786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638EA054-8E33-FC82-F886-CD4E4AAFF7D6}"/>
              </a:ext>
            </a:extLst>
          </p:cNvPr>
          <p:cNvGrpSpPr/>
          <p:nvPr/>
        </p:nvGrpSpPr>
        <p:grpSpPr>
          <a:xfrm>
            <a:off x="1987485" y="1791630"/>
            <a:ext cx="7707982" cy="4113277"/>
            <a:chOff x="2100607" y="885529"/>
            <a:chExt cx="7707982" cy="4113277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D5C022BB-722F-268F-D6B7-E46FFB69F994}"/>
                </a:ext>
              </a:extLst>
            </p:cNvPr>
            <p:cNvSpPr>
              <a:spLocks/>
            </p:cNvSpPr>
            <p:nvPr/>
          </p:nvSpPr>
          <p:spPr>
            <a:xfrm>
              <a:off x="2100607" y="923825"/>
              <a:ext cx="3995393" cy="2017338"/>
            </a:xfrm>
            <a:prstGeom prst="round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indows Server (App)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455BBD9F-E82E-22CE-EDDC-7D2AEDAE3BEB}"/>
                </a:ext>
              </a:extLst>
            </p:cNvPr>
            <p:cNvSpPr>
              <a:spLocks/>
            </p:cNvSpPr>
            <p:nvPr/>
          </p:nvSpPr>
          <p:spPr>
            <a:xfrm>
              <a:off x="2383411" y="1496504"/>
              <a:ext cx="1621411" cy="1114719"/>
            </a:xfrm>
            <a:prstGeom prst="round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eb application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459B771-E554-C1AD-CBFB-85769F3052BE}"/>
                </a:ext>
              </a:extLst>
            </p:cNvPr>
            <p:cNvSpPr>
              <a:spLocks/>
            </p:cNvSpPr>
            <p:nvPr/>
          </p:nvSpPr>
          <p:spPr>
            <a:xfrm>
              <a:off x="4240492" y="1496504"/>
              <a:ext cx="1621411" cy="1114719"/>
            </a:xfrm>
            <a:prstGeom prst="round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indows Service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E6A8A55-5C79-72BF-F2D0-8A310C9B80F7}"/>
                </a:ext>
              </a:extLst>
            </p:cNvPr>
            <p:cNvSpPr>
              <a:spLocks/>
            </p:cNvSpPr>
            <p:nvPr/>
          </p:nvSpPr>
          <p:spPr>
            <a:xfrm>
              <a:off x="7125093" y="885529"/>
              <a:ext cx="2683496" cy="2093931"/>
            </a:xfrm>
            <a:prstGeom prst="round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indows Server (DB)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9" name="Cylinder 8">
              <a:extLst>
                <a:ext uri="{FF2B5EF4-FFF2-40B4-BE49-F238E27FC236}">
                  <a16:creationId xmlns:a16="http://schemas.microsoft.com/office/drawing/2014/main" id="{8106B5C2-7488-62D1-3470-D83A6B7C64A0}"/>
                </a:ext>
              </a:extLst>
            </p:cNvPr>
            <p:cNvSpPr/>
            <p:nvPr/>
          </p:nvSpPr>
          <p:spPr>
            <a:xfrm>
              <a:off x="7905946" y="1392808"/>
              <a:ext cx="1121790" cy="1359817"/>
            </a:xfrm>
            <a:prstGeom prst="can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Microsoft SQL</a:t>
              </a:r>
              <a:endParaRPr kumimoji="0" lang="en-MY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8A7F463-5C3D-422C-7B80-1443FDA74D62}"/>
                </a:ext>
              </a:extLst>
            </p:cNvPr>
            <p:cNvCxnSpPr>
              <a:stCxn id="3" idx="3"/>
              <a:endCxn id="7" idx="1"/>
            </p:cNvCxnSpPr>
            <p:nvPr/>
          </p:nvCxnSpPr>
          <p:spPr>
            <a:xfrm>
              <a:off x="6096000" y="1932494"/>
              <a:ext cx="1029093" cy="1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aphic 16" descr="Browser window outline">
              <a:extLst>
                <a:ext uri="{FF2B5EF4-FFF2-40B4-BE49-F238E27FC236}">
                  <a16:creationId xmlns:a16="http://schemas.microsoft.com/office/drawing/2014/main" id="{EB5228C8-B9B3-4464-FAEA-730DBA07DD30}"/>
                </a:ext>
              </a:extLst>
            </p:cNvPr>
            <p:cNvGrpSpPr/>
            <p:nvPr/>
          </p:nvGrpSpPr>
          <p:grpSpPr>
            <a:xfrm>
              <a:off x="4479893" y="3977520"/>
              <a:ext cx="1317788" cy="1021285"/>
              <a:chOff x="4479893" y="3977520"/>
              <a:chExt cx="1317788" cy="1021285"/>
            </a:xfrm>
            <a:solidFill>
              <a:schemeClr val="accent4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AC7F60-AF30-3DE0-261E-8556E45D7815}"/>
                  </a:ext>
                </a:extLst>
              </p:cNvPr>
              <p:cNvSpPr/>
              <p:nvPr/>
            </p:nvSpPr>
            <p:spPr>
              <a:xfrm>
                <a:off x="4479893" y="3977520"/>
                <a:ext cx="1317788" cy="1021285"/>
              </a:xfrm>
              <a:custGeom>
                <a:avLst/>
                <a:gdLst>
                  <a:gd name="connsiteX0" fmla="*/ 0 w 1317788"/>
                  <a:gd name="connsiteY0" fmla="*/ 0 h 1021285"/>
                  <a:gd name="connsiteX1" fmla="*/ 0 w 1317788"/>
                  <a:gd name="connsiteY1" fmla="*/ 1021286 h 1021285"/>
                  <a:gd name="connsiteX2" fmla="*/ 1317788 w 1317788"/>
                  <a:gd name="connsiteY2" fmla="*/ 1021286 h 1021285"/>
                  <a:gd name="connsiteX3" fmla="*/ 1317788 w 1317788"/>
                  <a:gd name="connsiteY3" fmla="*/ 0 h 1021285"/>
                  <a:gd name="connsiteX4" fmla="*/ 1284844 w 1317788"/>
                  <a:gd name="connsiteY4" fmla="*/ 32945 h 1021285"/>
                  <a:gd name="connsiteX5" fmla="*/ 1284844 w 1317788"/>
                  <a:gd name="connsiteY5" fmla="*/ 247085 h 1021285"/>
                  <a:gd name="connsiteX6" fmla="*/ 32945 w 1317788"/>
                  <a:gd name="connsiteY6" fmla="*/ 247085 h 1021285"/>
                  <a:gd name="connsiteX7" fmla="*/ 32945 w 1317788"/>
                  <a:gd name="connsiteY7" fmla="*/ 32945 h 1021285"/>
                  <a:gd name="connsiteX8" fmla="*/ 32945 w 1317788"/>
                  <a:gd name="connsiteY8" fmla="*/ 988341 h 1021285"/>
                  <a:gd name="connsiteX9" fmla="*/ 32945 w 1317788"/>
                  <a:gd name="connsiteY9" fmla="*/ 280030 h 1021285"/>
                  <a:gd name="connsiteX10" fmla="*/ 1284844 w 1317788"/>
                  <a:gd name="connsiteY10" fmla="*/ 280030 h 1021285"/>
                  <a:gd name="connsiteX11" fmla="*/ 1284844 w 1317788"/>
                  <a:gd name="connsiteY11" fmla="*/ 988341 h 102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7788" h="1021285">
                    <a:moveTo>
                      <a:pt x="0" y="0"/>
                    </a:moveTo>
                    <a:lnTo>
                      <a:pt x="0" y="1021286"/>
                    </a:lnTo>
                    <a:lnTo>
                      <a:pt x="1317788" y="1021286"/>
                    </a:lnTo>
                    <a:lnTo>
                      <a:pt x="1317788" y="0"/>
                    </a:lnTo>
                    <a:close/>
                    <a:moveTo>
                      <a:pt x="1284844" y="32945"/>
                    </a:moveTo>
                    <a:lnTo>
                      <a:pt x="1284844" y="247085"/>
                    </a:lnTo>
                    <a:lnTo>
                      <a:pt x="32945" y="247085"/>
                    </a:lnTo>
                    <a:lnTo>
                      <a:pt x="32945" y="32945"/>
                    </a:lnTo>
                    <a:close/>
                    <a:moveTo>
                      <a:pt x="32945" y="988341"/>
                    </a:moveTo>
                    <a:lnTo>
                      <a:pt x="32945" y="280030"/>
                    </a:lnTo>
                    <a:lnTo>
                      <a:pt x="1284844" y="280030"/>
                    </a:lnTo>
                    <a:lnTo>
                      <a:pt x="1284844" y="988341"/>
                    </a:ln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roy"/>
                    <a:ea typeface="+mn-ea"/>
                    <a:cs typeface="+mn-cs"/>
                  </a:rPr>
                  <a:t>Web</a:t>
                </a:r>
                <a:endParaRPr kumimoji="0" lang="en-MY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27119C0-7C40-4A29-5553-A5DE23DF65A2}"/>
                  </a:ext>
                </a:extLst>
              </p:cNvPr>
              <p:cNvSpPr/>
              <p:nvPr/>
            </p:nvSpPr>
            <p:spPr>
              <a:xfrm>
                <a:off x="5352928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F2B4052-3D1A-3299-BBD2-A866857AC1BA}"/>
                  </a:ext>
                </a:extLst>
              </p:cNvPr>
              <p:cNvSpPr/>
              <p:nvPr/>
            </p:nvSpPr>
            <p:spPr>
              <a:xfrm>
                <a:off x="5468235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001953C-0B4A-8C64-C8E7-5D6040950E63}"/>
                  </a:ext>
                </a:extLst>
              </p:cNvPr>
              <p:cNvSpPr/>
              <p:nvPr/>
            </p:nvSpPr>
            <p:spPr>
              <a:xfrm>
                <a:off x="5583541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</p:grpSp>
        <p:sp>
          <p:nvSpPr>
            <p:cNvPr id="27" name="Graphic 14" descr="Browser window with solid fill">
              <a:extLst>
                <a:ext uri="{FF2B5EF4-FFF2-40B4-BE49-F238E27FC236}">
                  <a16:creationId xmlns:a16="http://schemas.microsoft.com/office/drawing/2014/main" id="{C4C54076-6F51-694A-B318-FABD7DA4E478}"/>
                </a:ext>
              </a:extLst>
            </p:cNvPr>
            <p:cNvSpPr/>
            <p:nvPr/>
          </p:nvSpPr>
          <p:spPr>
            <a:xfrm>
              <a:off x="2351507" y="3977521"/>
              <a:ext cx="1317788" cy="1021285"/>
            </a:xfrm>
            <a:custGeom>
              <a:avLst/>
              <a:gdLst>
                <a:gd name="connsiteX0" fmla="*/ 0 w 1317788"/>
                <a:gd name="connsiteY0" fmla="*/ 0 h 1021285"/>
                <a:gd name="connsiteX1" fmla="*/ 0 w 1317788"/>
                <a:gd name="connsiteY1" fmla="*/ 1021286 h 1021285"/>
                <a:gd name="connsiteX2" fmla="*/ 1317788 w 1317788"/>
                <a:gd name="connsiteY2" fmla="*/ 1021286 h 1021285"/>
                <a:gd name="connsiteX3" fmla="*/ 1317788 w 1317788"/>
                <a:gd name="connsiteY3" fmla="*/ 0 h 1021285"/>
                <a:gd name="connsiteX4" fmla="*/ 1136593 w 1317788"/>
                <a:gd name="connsiteY4" fmla="*/ 98834 h 1021285"/>
                <a:gd name="connsiteX5" fmla="*/ 1169537 w 1317788"/>
                <a:gd name="connsiteY5" fmla="*/ 131779 h 1021285"/>
                <a:gd name="connsiteX6" fmla="*/ 1136593 w 1317788"/>
                <a:gd name="connsiteY6" fmla="*/ 164724 h 1021285"/>
                <a:gd name="connsiteX7" fmla="*/ 1103648 w 1317788"/>
                <a:gd name="connsiteY7" fmla="*/ 131779 h 1021285"/>
                <a:gd name="connsiteX8" fmla="*/ 1136593 w 1317788"/>
                <a:gd name="connsiteY8" fmla="*/ 98834 h 1021285"/>
                <a:gd name="connsiteX9" fmla="*/ 1021286 w 1317788"/>
                <a:gd name="connsiteY9" fmla="*/ 98834 h 1021285"/>
                <a:gd name="connsiteX10" fmla="*/ 1054231 w 1317788"/>
                <a:gd name="connsiteY10" fmla="*/ 131779 h 1021285"/>
                <a:gd name="connsiteX11" fmla="*/ 1021286 w 1317788"/>
                <a:gd name="connsiteY11" fmla="*/ 164724 h 1021285"/>
                <a:gd name="connsiteX12" fmla="*/ 988341 w 1317788"/>
                <a:gd name="connsiteY12" fmla="*/ 131779 h 1021285"/>
                <a:gd name="connsiteX13" fmla="*/ 1021286 w 1317788"/>
                <a:gd name="connsiteY13" fmla="*/ 98834 h 1021285"/>
                <a:gd name="connsiteX14" fmla="*/ 905980 w 1317788"/>
                <a:gd name="connsiteY14" fmla="*/ 98834 h 1021285"/>
                <a:gd name="connsiteX15" fmla="*/ 938924 w 1317788"/>
                <a:gd name="connsiteY15" fmla="*/ 131779 h 1021285"/>
                <a:gd name="connsiteX16" fmla="*/ 905980 w 1317788"/>
                <a:gd name="connsiteY16" fmla="*/ 164724 h 1021285"/>
                <a:gd name="connsiteX17" fmla="*/ 873035 w 1317788"/>
                <a:gd name="connsiteY17" fmla="*/ 131779 h 1021285"/>
                <a:gd name="connsiteX18" fmla="*/ 905980 w 1317788"/>
                <a:gd name="connsiteY18" fmla="*/ 98834 h 1021285"/>
                <a:gd name="connsiteX19" fmla="*/ 1218954 w 1317788"/>
                <a:gd name="connsiteY19" fmla="*/ 922452 h 1021285"/>
                <a:gd name="connsiteX20" fmla="*/ 98834 w 1317788"/>
                <a:gd name="connsiteY20" fmla="*/ 922452 h 1021285"/>
                <a:gd name="connsiteX21" fmla="*/ 98834 w 1317788"/>
                <a:gd name="connsiteY21" fmla="*/ 263558 h 1021285"/>
                <a:gd name="connsiteX22" fmla="*/ 1218954 w 1317788"/>
                <a:gd name="connsiteY22" fmla="*/ 263558 h 102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7788" h="1021285">
                  <a:moveTo>
                    <a:pt x="0" y="0"/>
                  </a:moveTo>
                  <a:lnTo>
                    <a:pt x="0" y="1021286"/>
                  </a:lnTo>
                  <a:lnTo>
                    <a:pt x="1317788" y="1021286"/>
                  </a:lnTo>
                  <a:lnTo>
                    <a:pt x="1317788" y="0"/>
                  </a:lnTo>
                  <a:close/>
                  <a:moveTo>
                    <a:pt x="1136593" y="98834"/>
                  </a:moveTo>
                  <a:cubicBezTo>
                    <a:pt x="1154788" y="98834"/>
                    <a:pt x="1169537" y="113583"/>
                    <a:pt x="1169537" y="131779"/>
                  </a:cubicBezTo>
                  <a:cubicBezTo>
                    <a:pt x="1169537" y="149974"/>
                    <a:pt x="1154788" y="164724"/>
                    <a:pt x="1136593" y="164724"/>
                  </a:cubicBezTo>
                  <a:cubicBezTo>
                    <a:pt x="1118397" y="164724"/>
                    <a:pt x="1103648" y="149974"/>
                    <a:pt x="1103648" y="131779"/>
                  </a:cubicBezTo>
                  <a:cubicBezTo>
                    <a:pt x="1103648" y="113583"/>
                    <a:pt x="1118397" y="98834"/>
                    <a:pt x="1136593" y="98834"/>
                  </a:cubicBezTo>
                  <a:close/>
                  <a:moveTo>
                    <a:pt x="1021286" y="98834"/>
                  </a:moveTo>
                  <a:cubicBezTo>
                    <a:pt x="1039481" y="98834"/>
                    <a:pt x="1054231" y="113583"/>
                    <a:pt x="1054231" y="131779"/>
                  </a:cubicBezTo>
                  <a:cubicBezTo>
                    <a:pt x="1054231" y="149974"/>
                    <a:pt x="1039481" y="164724"/>
                    <a:pt x="1021286" y="164724"/>
                  </a:cubicBezTo>
                  <a:cubicBezTo>
                    <a:pt x="1003091" y="164724"/>
                    <a:pt x="988341" y="149974"/>
                    <a:pt x="988341" y="131779"/>
                  </a:cubicBezTo>
                  <a:cubicBezTo>
                    <a:pt x="988341" y="113583"/>
                    <a:pt x="1003091" y="98834"/>
                    <a:pt x="1021286" y="98834"/>
                  </a:cubicBezTo>
                  <a:close/>
                  <a:moveTo>
                    <a:pt x="905980" y="98834"/>
                  </a:moveTo>
                  <a:cubicBezTo>
                    <a:pt x="924175" y="98834"/>
                    <a:pt x="938924" y="113583"/>
                    <a:pt x="938924" y="131779"/>
                  </a:cubicBezTo>
                  <a:cubicBezTo>
                    <a:pt x="938924" y="149974"/>
                    <a:pt x="924175" y="164724"/>
                    <a:pt x="905980" y="164724"/>
                  </a:cubicBezTo>
                  <a:cubicBezTo>
                    <a:pt x="887784" y="164724"/>
                    <a:pt x="873035" y="149974"/>
                    <a:pt x="873035" y="131779"/>
                  </a:cubicBezTo>
                  <a:cubicBezTo>
                    <a:pt x="873035" y="113583"/>
                    <a:pt x="887784" y="98834"/>
                    <a:pt x="905980" y="98834"/>
                  </a:cubicBezTo>
                  <a:close/>
                  <a:moveTo>
                    <a:pt x="1218954" y="922452"/>
                  </a:moveTo>
                  <a:lnTo>
                    <a:pt x="98834" y="922452"/>
                  </a:lnTo>
                  <a:lnTo>
                    <a:pt x="98834" y="263558"/>
                  </a:lnTo>
                  <a:lnTo>
                    <a:pt x="1218954" y="263558"/>
                  </a:lnTo>
                  <a:close/>
                </a:path>
              </a:pathLst>
            </a:custGeom>
            <a:solidFill>
              <a:schemeClr val="accent4"/>
            </a:solidFill>
            <a:ln w="21960" cap="flat">
              <a:solidFill>
                <a:schemeClr val="dk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Desktop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5493DFB7-6E6E-3A56-B148-4A2173CB7F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10402" y="2941163"/>
              <a:ext cx="0" cy="1046375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79122EDA-8726-CD02-94B2-72C4D076DE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43609" y="2941163"/>
              <a:ext cx="0" cy="1046375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Title">
            <a:extLst>
              <a:ext uri="{FF2B5EF4-FFF2-40B4-BE49-F238E27FC236}">
                <a16:creationId xmlns:a16="http://schemas.microsoft.com/office/drawing/2014/main" id="{6F2E1FC3-D139-1453-6E08-B62ACBB9FE16}"/>
              </a:ext>
            </a:extLst>
          </p:cNvPr>
          <p:cNvGraphicFramePr>
            <a:graphicFrameLocks noGrp="1"/>
          </p:cNvGraphicFramePr>
          <p:nvPr/>
        </p:nvGraphicFramePr>
        <p:xfrm>
          <a:off x="332337" y="425974"/>
          <a:ext cx="3850921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152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5115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3486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rchitecture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implified)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1850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/>
              <a:t>Tooling op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5317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chemeClr val="bg2">
                    <a:lumMod val="20000"/>
                    <a:lumOff val="80000"/>
                  </a:schemeClr>
                </a:solidFill>
              </a:rPr>
              <a:t>Code writing assistant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2EBC6DA-9298-8652-CFD2-F5A29DDBEA05}"/>
              </a:ext>
            </a:extLst>
          </p:cNvPr>
          <p:cNvSpPr/>
          <p:nvPr/>
        </p:nvSpPr>
        <p:spPr>
          <a:xfrm>
            <a:off x="218211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1D3FBB-1D8A-50A7-F7C1-87E4DF243C1C}"/>
              </a:ext>
            </a:extLst>
          </p:cNvPr>
          <p:cNvSpPr txBox="1"/>
          <p:nvPr/>
        </p:nvSpPr>
        <p:spPr>
          <a:xfrm>
            <a:off x="10604554" y="660908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/>
              <a:t>Easy</a:t>
            </a:r>
          </a:p>
        </p:txBody>
      </p:sp>
      <p:pic>
        <p:nvPicPr>
          <p:cNvPr id="19" name="Picture 18" descr="A screenshot of a video game&#10;&#10;Description automatically generated">
            <a:extLst>
              <a:ext uri="{FF2B5EF4-FFF2-40B4-BE49-F238E27FC236}">
                <a16:creationId xmlns:a16="http://schemas.microsoft.com/office/drawing/2014/main" id="{AFB8483E-8B76-E332-7EB6-4825AAEC89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1808243"/>
            <a:ext cx="2763238" cy="1450700"/>
          </a:xfrm>
          <a:prstGeom prst="rect">
            <a:avLst/>
          </a:prstGeom>
        </p:spPr>
      </p:pic>
      <p:pic>
        <p:nvPicPr>
          <p:cNvPr id="33" name="Picture 32" descr="A logo of a computer code&#10;&#10;Description automatically generated">
            <a:extLst>
              <a:ext uri="{FF2B5EF4-FFF2-40B4-BE49-F238E27FC236}">
                <a16:creationId xmlns:a16="http://schemas.microsoft.com/office/drawing/2014/main" id="{51720667-9053-4655-ACA8-43F9DEC057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3461430"/>
            <a:ext cx="2763238" cy="1395435"/>
          </a:xfrm>
          <a:prstGeom prst="rect">
            <a:avLst/>
          </a:prstGeom>
        </p:spPr>
      </p:pic>
      <p:pic>
        <p:nvPicPr>
          <p:cNvPr id="35" name="Picture 34" descr="A black and white logo&#10;&#10;Description automatically generated">
            <a:extLst>
              <a:ext uri="{FF2B5EF4-FFF2-40B4-BE49-F238E27FC236}">
                <a16:creationId xmlns:a16="http://schemas.microsoft.com/office/drawing/2014/main" id="{0DE3ED58-45C9-C492-6E89-ECFA9C9E21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5014557"/>
            <a:ext cx="2754309" cy="1313594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31BAE203-33D7-8DE9-BBEC-5E009A225EA2}"/>
              </a:ext>
            </a:extLst>
          </p:cNvPr>
          <p:cNvSpPr/>
          <p:nvPr/>
        </p:nvSpPr>
        <p:spPr>
          <a:xfrm>
            <a:off x="3300451" y="1097399"/>
            <a:ext cx="8234797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>
                <a:solidFill>
                  <a:schemeClr val="bg2">
                    <a:lumMod val="20000"/>
                    <a:lumOff val="80000"/>
                  </a:schemeClr>
                </a:solidFill>
              </a:rPr>
              <a:t>Code Understanding &amp; Refactoring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D78751D-12B1-3CC0-83B1-228B6F584063}"/>
              </a:ext>
            </a:extLst>
          </p:cNvPr>
          <p:cNvSpPr/>
          <p:nvPr/>
        </p:nvSpPr>
        <p:spPr>
          <a:xfrm>
            <a:off x="3539231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5E147B6-B43F-2EB3-4DB2-556E3B0294A8}"/>
              </a:ext>
            </a:extLst>
          </p:cNvPr>
          <p:cNvSpPr/>
          <p:nvPr/>
        </p:nvSpPr>
        <p:spPr>
          <a:xfrm>
            <a:off x="3190033" y="944591"/>
            <a:ext cx="306000" cy="306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38" name="Picture 37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745EDD84-3A43-BC84-0E34-27E0841D27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452" y="1805281"/>
            <a:ext cx="2579648" cy="1451052"/>
          </a:xfrm>
          <a:prstGeom prst="rect">
            <a:avLst/>
          </a:prstGeom>
        </p:spPr>
      </p:pic>
      <p:pic>
        <p:nvPicPr>
          <p:cNvPr id="40" name="Picture 39" descr="A logo with a bird and a chain&#10;&#10;Description automatically generated">
            <a:extLst>
              <a:ext uri="{FF2B5EF4-FFF2-40B4-BE49-F238E27FC236}">
                <a16:creationId xmlns:a16="http://schemas.microsoft.com/office/drawing/2014/main" id="{0C4D6BB0-7A1D-2BB6-60BF-3CD8C025C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730" y="5113008"/>
            <a:ext cx="2773381" cy="1451052"/>
          </a:xfrm>
          <a:prstGeom prst="rect">
            <a:avLst/>
          </a:prstGeom>
        </p:spPr>
      </p:pic>
      <p:pic>
        <p:nvPicPr>
          <p:cNvPr id="42" name="Picture 41" descr="A blue infinity symbol with black text&#10;&#10;Description automatically generated">
            <a:extLst>
              <a:ext uri="{FF2B5EF4-FFF2-40B4-BE49-F238E27FC236}">
                <a16:creationId xmlns:a16="http://schemas.microsoft.com/office/drawing/2014/main" id="{725CA2B8-C759-68A3-08A4-6E3D62E2E5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332" y="3405813"/>
            <a:ext cx="2273667" cy="1515778"/>
          </a:xfrm>
          <a:prstGeom prst="rect">
            <a:avLst/>
          </a:prstGeom>
        </p:spPr>
      </p:pic>
      <p:pic>
        <p:nvPicPr>
          <p:cNvPr id="46" name="Picture 45" descr="A computer software development software&#10;&#10;Description automatically generated with low confidence">
            <a:extLst>
              <a:ext uri="{FF2B5EF4-FFF2-40B4-BE49-F238E27FC236}">
                <a16:creationId xmlns:a16="http://schemas.microsoft.com/office/drawing/2014/main" id="{D5D78132-21E8-BA97-0104-FF697DC47D2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867" y="3461430"/>
            <a:ext cx="2603233" cy="1462187"/>
          </a:xfrm>
          <a:prstGeom prst="rect">
            <a:avLst/>
          </a:prstGeom>
        </p:spPr>
      </p:pic>
      <p:pic>
        <p:nvPicPr>
          <p:cNvPr id="48" name="Picture 47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984684B3-9BF2-5C47-2CB5-38CE5351153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690" y="1805281"/>
            <a:ext cx="2611262" cy="1450701"/>
          </a:xfrm>
          <a:prstGeom prst="rect">
            <a:avLst/>
          </a:prstGeom>
        </p:spPr>
      </p:pic>
      <p:pic>
        <p:nvPicPr>
          <p:cNvPr id="50" name="Picture 49" descr="A logo with a logo on it&#10;&#10;Description automatically generated">
            <a:extLst>
              <a:ext uri="{FF2B5EF4-FFF2-40B4-BE49-F238E27FC236}">
                <a16:creationId xmlns:a16="http://schemas.microsoft.com/office/drawing/2014/main" id="{893273B8-14F4-731B-9630-1ABF22512C5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542" y="1795030"/>
            <a:ext cx="2772707" cy="1450699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A24CE3BC-6B27-DE93-96F5-F3E99A4BC5FF}"/>
              </a:ext>
            </a:extLst>
          </p:cNvPr>
          <p:cNvGrpSpPr/>
          <p:nvPr/>
        </p:nvGrpSpPr>
        <p:grpSpPr>
          <a:xfrm>
            <a:off x="6011645" y="3445373"/>
            <a:ext cx="2471955" cy="1478244"/>
            <a:chOff x="3272796" y="5014557"/>
            <a:chExt cx="2615307" cy="1569184"/>
          </a:xfrm>
        </p:grpSpPr>
        <p:pic>
          <p:nvPicPr>
            <p:cNvPr id="44" name="Picture 43" descr="A logo on a blue background&#10;&#10;Description automatically generated">
              <a:extLst>
                <a:ext uri="{FF2B5EF4-FFF2-40B4-BE49-F238E27FC236}">
                  <a16:creationId xmlns:a16="http://schemas.microsoft.com/office/drawing/2014/main" id="{E154C75A-8F6B-C0FC-E13F-C31203F01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2796" y="5014557"/>
              <a:ext cx="2615307" cy="1569184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14DC53B-37FF-6420-8851-86A125804EF4}"/>
                </a:ext>
              </a:extLst>
            </p:cNvPr>
            <p:cNvSpPr txBox="1"/>
            <p:nvPr/>
          </p:nvSpPr>
          <p:spPr>
            <a:xfrm>
              <a:off x="4100884" y="6045200"/>
              <a:ext cx="955198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l"/>
              <a:r>
                <a:rPr lang="en-GB" sz="1600">
                  <a:solidFill>
                    <a:schemeClr val="bg1"/>
                  </a:solidFill>
                </a:rPr>
                <a:t>Bedrock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A6EF574-5F12-41CB-3034-94691CEFCE47}"/>
              </a:ext>
            </a:extLst>
          </p:cNvPr>
          <p:cNvGrpSpPr/>
          <p:nvPr/>
        </p:nvGrpSpPr>
        <p:grpSpPr>
          <a:xfrm>
            <a:off x="7143383" y="5107755"/>
            <a:ext cx="3731082" cy="1451052"/>
            <a:chOff x="6863983" y="5107755"/>
            <a:chExt cx="3731082" cy="1451052"/>
          </a:xfrm>
        </p:grpSpPr>
        <p:pic>
          <p:nvPicPr>
            <p:cNvPr id="58" name="Picture 57" descr="A black cat in a circle&#10;&#10;Description automatically generated">
              <a:extLst>
                <a:ext uri="{FF2B5EF4-FFF2-40B4-BE49-F238E27FC236}">
                  <a16:creationId xmlns:a16="http://schemas.microsoft.com/office/drawing/2014/main" id="{2FF05834-7714-F86B-79CF-AF62D516E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83" y="5107755"/>
              <a:ext cx="1383901" cy="1451052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0D257341-C797-DA36-F306-C29D37DDB915}"/>
                </a:ext>
              </a:extLst>
            </p:cNvPr>
            <p:cNvSpPr txBox="1"/>
            <p:nvPr/>
          </p:nvSpPr>
          <p:spPr>
            <a:xfrm>
              <a:off x="8247884" y="5648615"/>
              <a:ext cx="23471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l"/>
              <a:r>
                <a:rPr lang="en-GB" err="1"/>
                <a:t>microsoft</a:t>
              </a:r>
              <a:r>
                <a:rPr lang="en-GB"/>
                <a:t>/</a:t>
              </a:r>
              <a:r>
                <a:rPr lang="en-GB" err="1"/>
                <a:t>gpt</a:t>
              </a:r>
              <a:r>
                <a:rPr lang="en-GB"/>
                <a:t>-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09915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EB23461-1FB9-5EE5-C030-E5B82C04299F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838200" y="948055"/>
          <a:ext cx="10515600" cy="4661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9328201-0564-2936-DFD3-B05A27B45AB7}"/>
              </a:ext>
            </a:extLst>
          </p:cNvPr>
          <p:cNvSpPr txBox="1"/>
          <p:nvPr/>
        </p:nvSpPr>
        <p:spPr>
          <a:xfrm>
            <a:off x="838200" y="5783580"/>
            <a:ext cx="321113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Both are on AWS</a:t>
            </a:r>
          </a:p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Both are “t3.xlarge” instance (16 GiB, 4vCPU)</a:t>
            </a:r>
            <a:endParaRPr kumimoji="0" lang="en-MY" sz="1100" b="0" i="0" u="none" strike="noStrike" kern="1200" cap="none" spc="0" normalizeH="0" baseline="0" noProof="0" dirty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11444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itle">
            <a:extLst>
              <a:ext uri="{FF2B5EF4-FFF2-40B4-BE49-F238E27FC236}">
                <a16:creationId xmlns:a16="http://schemas.microsoft.com/office/drawing/2014/main" id="{B02FB871-9E3E-B2BF-FA3F-EB686BF5520A}"/>
              </a:ext>
            </a:extLst>
          </p:cNvPr>
          <p:cNvGraphicFramePr>
            <a:graphicFrameLocks noGrp="1"/>
          </p:cNvGraphicFramePr>
          <p:nvPr/>
        </p:nvGraphicFramePr>
        <p:xfrm>
          <a:off x="271639" y="451894"/>
          <a:ext cx="4140342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028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70028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60028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lob Storage</a:t>
                      </a:r>
                      <a:endParaRPr lang="en-US" sz="4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37CD7E02-ACF5-77BD-BE31-E775606696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0981" y="1550784"/>
            <a:ext cx="7474268" cy="441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4358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D074F012-F108-0EDB-C4D0-814FBFBF52D0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trategy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65250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53">
            <a:extLst>
              <a:ext uri="{FF2B5EF4-FFF2-40B4-BE49-F238E27FC236}">
                <a16:creationId xmlns:a16="http://schemas.microsoft.com/office/drawing/2014/main" id="{2991B5E6-9F1D-F1AA-1988-0306A86AE41D}"/>
              </a:ext>
            </a:extLst>
          </p:cNvPr>
          <p:cNvGrpSpPr/>
          <p:nvPr/>
        </p:nvGrpSpPr>
        <p:grpSpPr>
          <a:xfrm>
            <a:off x="2311138" y="1935714"/>
            <a:ext cx="7569723" cy="2986571"/>
            <a:chOff x="2311139" y="1628797"/>
            <a:chExt cx="7569723" cy="2986571"/>
          </a:xfrm>
        </p:grpSpPr>
        <p:sp>
          <p:nvSpPr>
            <p:cNvPr id="5" name="Cylinder 4">
              <a:extLst>
                <a:ext uri="{FF2B5EF4-FFF2-40B4-BE49-F238E27FC236}">
                  <a16:creationId xmlns:a16="http://schemas.microsoft.com/office/drawing/2014/main" id="{1A161034-5528-89B6-94B0-ADF27387FF37}"/>
                </a:ext>
              </a:extLst>
            </p:cNvPr>
            <p:cNvSpPr/>
            <p:nvPr/>
          </p:nvSpPr>
          <p:spPr>
            <a:xfrm>
              <a:off x="2311139" y="2046478"/>
              <a:ext cx="1747102" cy="2117811"/>
            </a:xfrm>
            <a:prstGeom prst="can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Microsoft SQL</a:t>
              </a:r>
              <a:endParaRPr kumimoji="0" lang="en-MY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7" name="Cylinder 6">
              <a:extLst>
                <a:ext uri="{FF2B5EF4-FFF2-40B4-BE49-F238E27FC236}">
                  <a16:creationId xmlns:a16="http://schemas.microsoft.com/office/drawing/2014/main" id="{D2B94599-538E-C2E2-64A4-0190F89D4F20}"/>
                </a:ext>
              </a:extLst>
            </p:cNvPr>
            <p:cNvSpPr/>
            <p:nvPr/>
          </p:nvSpPr>
          <p:spPr>
            <a:xfrm>
              <a:off x="8133760" y="2046479"/>
              <a:ext cx="1747102" cy="2117811"/>
            </a:xfrm>
            <a:prstGeom prst="can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PostgreSQL</a:t>
              </a:r>
              <a:endParaRPr kumimoji="0" lang="en-MY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D5F30F3-88B4-81EB-42B4-1CB86BC79DAE}"/>
                </a:ext>
              </a:extLst>
            </p:cNvPr>
            <p:cNvSpPr txBox="1"/>
            <p:nvPr/>
          </p:nvSpPr>
          <p:spPr>
            <a:xfrm>
              <a:off x="5743573" y="1628797"/>
              <a:ext cx="97916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461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Table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C9E94E2-8856-6C96-1C3B-67CAB348A277}"/>
                </a:ext>
              </a:extLst>
            </p:cNvPr>
            <p:cNvSpPr txBox="1"/>
            <p:nvPr/>
          </p:nvSpPr>
          <p:spPr>
            <a:xfrm>
              <a:off x="5667373" y="2727787"/>
              <a:ext cx="105537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View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F7FEF63-F782-DE44-A3B1-D8EE9636A55C}"/>
                </a:ext>
              </a:extLst>
            </p:cNvPr>
            <p:cNvSpPr txBox="1"/>
            <p:nvPr/>
          </p:nvSpPr>
          <p:spPr>
            <a:xfrm>
              <a:off x="5231933" y="3907482"/>
              <a:ext cx="192625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2402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Stored Procedures</a:t>
              </a:r>
              <a:endParaRPr kumimoji="0" lang="en-MY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2B57C000-4129-C5D4-2C2C-19E72989BD71}"/>
                </a:ext>
              </a:extLst>
            </p:cNvPr>
            <p:cNvCxnSpPr>
              <a:cxnSpLocks/>
              <a:stCxn id="5" idx="4"/>
              <a:endCxn id="8" idx="1"/>
            </p:cNvCxnSpPr>
            <p:nvPr/>
          </p:nvCxnSpPr>
          <p:spPr>
            <a:xfrm flipV="1">
              <a:off x="4058241" y="1998129"/>
              <a:ext cx="1685332" cy="1107255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82C53898-FF3A-B100-EDFB-3284596D6CF4}"/>
                </a:ext>
              </a:extLst>
            </p:cNvPr>
            <p:cNvCxnSpPr>
              <a:cxnSpLocks/>
              <a:stCxn id="5" idx="4"/>
              <a:endCxn id="11" idx="1"/>
            </p:cNvCxnSpPr>
            <p:nvPr/>
          </p:nvCxnSpPr>
          <p:spPr>
            <a:xfrm>
              <a:off x="4058241" y="3105384"/>
              <a:ext cx="1173692" cy="1156041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3BB9792D-05B6-0198-8275-F5FE6AFEAA34}"/>
                </a:ext>
              </a:extLst>
            </p:cNvPr>
            <p:cNvCxnSpPr>
              <a:cxnSpLocks/>
              <a:stCxn id="5" idx="4"/>
              <a:endCxn id="9" idx="1"/>
            </p:cNvCxnSpPr>
            <p:nvPr/>
          </p:nvCxnSpPr>
          <p:spPr>
            <a:xfrm flipV="1">
              <a:off x="4058241" y="3097119"/>
              <a:ext cx="1609132" cy="826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or: Curved 29">
              <a:extLst>
                <a:ext uri="{FF2B5EF4-FFF2-40B4-BE49-F238E27FC236}">
                  <a16:creationId xmlns:a16="http://schemas.microsoft.com/office/drawing/2014/main" id="{95249774-419E-6832-1F18-429117C96513}"/>
                </a:ext>
              </a:extLst>
            </p:cNvPr>
            <p:cNvCxnSpPr>
              <a:cxnSpLocks/>
              <a:stCxn id="8" idx="3"/>
              <a:endCxn id="7" idx="2"/>
            </p:cNvCxnSpPr>
            <p:nvPr/>
          </p:nvCxnSpPr>
          <p:spPr>
            <a:xfrm>
              <a:off x="6722742" y="1998129"/>
              <a:ext cx="1411018" cy="1107256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2" name="Connector: Curved 31">
              <a:extLst>
                <a:ext uri="{FF2B5EF4-FFF2-40B4-BE49-F238E27FC236}">
                  <a16:creationId xmlns:a16="http://schemas.microsoft.com/office/drawing/2014/main" id="{CDF0B27B-94CE-D70C-191E-3116F572E1E0}"/>
                </a:ext>
              </a:extLst>
            </p:cNvPr>
            <p:cNvCxnSpPr>
              <a:cxnSpLocks/>
              <a:stCxn id="11" idx="3"/>
              <a:endCxn id="7" idx="2"/>
            </p:cNvCxnSpPr>
            <p:nvPr/>
          </p:nvCxnSpPr>
          <p:spPr>
            <a:xfrm flipV="1">
              <a:off x="7158184" y="3105385"/>
              <a:ext cx="975576" cy="1156040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6CC18D20-E26A-0B86-A0C4-C44D1BD4465E}"/>
                </a:ext>
              </a:extLst>
            </p:cNvPr>
            <p:cNvCxnSpPr>
              <a:cxnSpLocks/>
              <a:stCxn id="9" idx="3"/>
              <a:endCxn id="7" idx="2"/>
            </p:cNvCxnSpPr>
            <p:nvPr/>
          </p:nvCxnSpPr>
          <p:spPr>
            <a:xfrm>
              <a:off x="6722743" y="3097119"/>
              <a:ext cx="1411017" cy="82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aphicFrame>
        <p:nvGraphicFramePr>
          <p:cNvPr id="55" name="Title">
            <a:extLst>
              <a:ext uri="{FF2B5EF4-FFF2-40B4-BE49-F238E27FC236}">
                <a16:creationId xmlns:a16="http://schemas.microsoft.com/office/drawing/2014/main" id="{95EB0EFE-1F02-BE83-3A87-E5F6290F298D}"/>
              </a:ext>
            </a:extLst>
          </p:cNvPr>
          <p:cNvGraphicFramePr>
            <a:graphicFrameLocks noGrp="1"/>
          </p:cNvGraphicFramePr>
          <p:nvPr/>
        </p:nvGraphicFramePr>
        <p:xfrm>
          <a:off x="332337" y="425974"/>
          <a:ext cx="3850921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152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5115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3486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igration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738343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258DD534-AB22-4D79-C4F7-C3E640A9FF2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6663" r="16663"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04B605EA-1EB7-FFB5-F8E8-4D103F8DEEC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5650" r="15650"/>
          <a:stretch/>
        </p:blipFill>
        <p:spPr>
          <a:xfrm>
            <a:off x="6133079" y="1906588"/>
            <a:ext cx="1440000" cy="1439862"/>
          </a:xfrm>
        </p:spPr>
      </p:pic>
      <p:pic>
        <p:nvPicPr>
          <p:cNvPr id="36" name="Picture Placeholder 35" descr="Analog board showing flight information">
            <a:extLst>
              <a:ext uri="{FF2B5EF4-FFF2-40B4-BE49-F238E27FC236}">
                <a16:creationId xmlns:a16="http://schemas.microsoft.com/office/drawing/2014/main" id="{A1410DA3-248E-C3E6-031E-D740DD01312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/>
          <a:srcRect l="16675" r="16675"/>
          <a:stretch>
            <a:fillRect/>
          </a:stretch>
        </p:blipFill>
        <p:spPr>
          <a:xfrm>
            <a:off x="757100" y="4246102"/>
            <a:ext cx="1440000" cy="1439862"/>
          </a:xfrm>
        </p:spPr>
      </p:pic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273F3B9-078A-8CA1-FE37-AEB763EFA1B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rcRect l="16663" r="16663"/>
          <a:stretch/>
        </p:blipFill>
        <p:spPr/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61695A12-0BF0-5919-C88E-5BE8D319C66F}"/>
              </a:ext>
            </a:extLst>
          </p:cNvPr>
          <p:cNvSpPr txBox="1"/>
          <p:nvPr/>
        </p:nvSpPr>
        <p:spPr>
          <a:xfrm>
            <a:off x="2472158" y="2164854"/>
            <a:ext cx="15520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Column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Mapping</a:t>
            </a:r>
            <a:endParaRPr kumimoji="0" lang="en-MY" sz="2600" b="0" i="0" u="none" strike="noStrike" kern="1200" cap="none" spc="0" normalizeH="0" baseline="0" noProof="0" dirty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C41FAD9-46D0-8E12-72CC-16EC832B8655}"/>
              </a:ext>
            </a:extLst>
          </p:cNvPr>
          <p:cNvSpPr txBox="1"/>
          <p:nvPr/>
        </p:nvSpPr>
        <p:spPr>
          <a:xfrm>
            <a:off x="7848137" y="2170402"/>
            <a:ext cx="268695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QL Syntax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ransformation</a:t>
            </a:r>
            <a:endParaRPr kumimoji="0" lang="en-MY" sz="3200" b="0" i="0" u="none" strike="noStrike" kern="1200" cap="none" spc="0" normalizeH="0" baseline="0" noProof="0" dirty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7DB434A-E01D-72FD-AD01-5C13ECF8EC57}"/>
              </a:ext>
            </a:extLst>
          </p:cNvPr>
          <p:cNvSpPr txBox="1"/>
          <p:nvPr/>
        </p:nvSpPr>
        <p:spPr>
          <a:xfrm>
            <a:off x="2472158" y="4488979"/>
            <a:ext cx="173957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Dat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Migration</a:t>
            </a:r>
            <a:endParaRPr kumimoji="0" lang="en-MY" sz="2800" b="0" i="0" u="none" strike="noStrike" kern="1200" cap="none" spc="0" normalizeH="0" baseline="0" noProof="0" dirty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1F06B84-0DEA-A394-D6DC-DD6CE006CB38}"/>
              </a:ext>
            </a:extLst>
          </p:cNvPr>
          <p:cNvSpPr txBox="1"/>
          <p:nvPr/>
        </p:nvSpPr>
        <p:spPr>
          <a:xfrm>
            <a:off x="7848137" y="4488979"/>
            <a:ext cx="240482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Co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2408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Compatibility</a:t>
            </a:r>
            <a:endParaRPr kumimoji="0" lang="en-MY" sz="2800" b="0" i="0" u="none" strike="noStrike" kern="1200" cap="none" spc="0" normalizeH="0" baseline="0" noProof="0" dirty="0">
              <a:ln>
                <a:noFill/>
              </a:ln>
              <a:solidFill>
                <a:srgbClr val="E2408E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graphicFrame>
        <p:nvGraphicFramePr>
          <p:cNvPr id="52" name="Title">
            <a:extLst>
              <a:ext uri="{FF2B5EF4-FFF2-40B4-BE49-F238E27FC236}">
                <a16:creationId xmlns:a16="http://schemas.microsoft.com/office/drawing/2014/main" id="{AF89088B-816F-45A2-72F5-22231A810400}"/>
              </a:ext>
            </a:extLst>
          </p:cNvPr>
          <p:cNvGraphicFramePr>
            <a:graphicFrameLocks noGrp="1"/>
          </p:cNvGraphicFramePr>
          <p:nvPr/>
        </p:nvGraphicFramePr>
        <p:xfrm>
          <a:off x="271639" y="451894"/>
          <a:ext cx="3850921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152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51152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3486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mplexities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79F6A0B-4F1D-1D43-3D2F-935C240077A8}"/>
              </a:ext>
            </a:extLst>
          </p:cNvPr>
          <p:cNvSpPr txBox="1"/>
          <p:nvPr/>
        </p:nvSpPr>
        <p:spPr>
          <a:xfrm>
            <a:off x="363265" y="1735534"/>
            <a:ext cx="4544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7788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1</a:t>
            </a: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657788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4BD2FA-B1AB-4403-FD3F-3A06910D1BF8}"/>
              </a:ext>
            </a:extLst>
          </p:cNvPr>
          <p:cNvSpPr txBox="1"/>
          <p:nvPr/>
        </p:nvSpPr>
        <p:spPr>
          <a:xfrm>
            <a:off x="5737739" y="1735534"/>
            <a:ext cx="4544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7788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2</a:t>
            </a: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657788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6F1543-0100-648C-7467-F3C5771D46B1}"/>
              </a:ext>
            </a:extLst>
          </p:cNvPr>
          <p:cNvSpPr txBox="1"/>
          <p:nvPr/>
        </p:nvSpPr>
        <p:spPr>
          <a:xfrm>
            <a:off x="363265" y="4031922"/>
            <a:ext cx="4544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7788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3</a:t>
            </a: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657788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A16476-126B-A1A0-A418-50A8391D4F51}"/>
              </a:ext>
            </a:extLst>
          </p:cNvPr>
          <p:cNvSpPr txBox="1"/>
          <p:nvPr/>
        </p:nvSpPr>
        <p:spPr>
          <a:xfrm>
            <a:off x="5737739" y="4015269"/>
            <a:ext cx="4544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7788"/>
                </a:solidFill>
                <a:effectLst/>
                <a:uLnTx/>
                <a:uFillTx/>
                <a:latin typeface="Gilroy Bold"/>
                <a:ea typeface="+mn-ea"/>
                <a:cs typeface="+mn-cs"/>
              </a:rPr>
              <a:t>4</a:t>
            </a: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657788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494484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itle">
            <a:extLst>
              <a:ext uri="{FF2B5EF4-FFF2-40B4-BE49-F238E27FC236}">
                <a16:creationId xmlns:a16="http://schemas.microsoft.com/office/drawing/2014/main" id="{2FD429C5-6D18-05FE-4FF5-1581FFF432A1}"/>
              </a:ext>
            </a:extLst>
          </p:cNvPr>
          <p:cNvGraphicFramePr>
            <a:graphicFrameLocks noGrp="1"/>
          </p:cNvGraphicFramePr>
          <p:nvPr/>
        </p:nvGraphicFramePr>
        <p:xfrm>
          <a:off x="271639" y="451894"/>
          <a:ext cx="5428121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01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54015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720091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posed Tools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6" name="Content Placeholder 45">
            <a:extLst>
              <a:ext uri="{FF2B5EF4-FFF2-40B4-BE49-F238E27FC236}">
                <a16:creationId xmlns:a16="http://schemas.microsoft.com/office/drawing/2014/main" id="{9201612B-AF28-A803-7668-6BCD69ECBE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Liquibase (DB schema migration tool)</a:t>
            </a:r>
          </a:p>
          <a:p>
            <a:r>
              <a:rPr lang="en-US" dirty="0"/>
              <a:t>Custom ETL Tool (Extract, Transform, Load)</a:t>
            </a:r>
          </a:p>
          <a:p>
            <a:r>
              <a:rPr lang="en-US" dirty="0"/>
              <a:t>ChatGPT 4 + Python</a:t>
            </a:r>
          </a:p>
          <a:p>
            <a:r>
              <a:rPr lang="en-US" dirty="0"/>
              <a:t>AI Copilo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228216690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itle">
            <a:extLst>
              <a:ext uri="{FF2B5EF4-FFF2-40B4-BE49-F238E27FC236}">
                <a16:creationId xmlns:a16="http://schemas.microsoft.com/office/drawing/2014/main" id="{2FD429C5-6D18-05FE-4FF5-1581FFF432A1}"/>
              </a:ext>
            </a:extLst>
          </p:cNvPr>
          <p:cNvGraphicFramePr>
            <a:graphicFrameLocks noGrp="1"/>
          </p:cNvGraphicFramePr>
          <p:nvPr/>
        </p:nvGraphicFramePr>
        <p:xfrm>
          <a:off x="271639" y="451894"/>
          <a:ext cx="4140342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028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70028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360028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lob Storage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129F7A-D456-7C7C-1F83-16D7408F650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evelop migration tool to extract client storage from database efficiently</a:t>
            </a:r>
          </a:p>
          <a:p>
            <a:r>
              <a:rPr lang="en-US" dirty="0"/>
              <a:t>Strategies the migration and code changes with the least impact to the application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30233860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638EA054-8E33-FC82-F886-CD4E4AAFF7D6}"/>
              </a:ext>
            </a:extLst>
          </p:cNvPr>
          <p:cNvGrpSpPr/>
          <p:nvPr/>
        </p:nvGrpSpPr>
        <p:grpSpPr>
          <a:xfrm>
            <a:off x="2499113" y="1623093"/>
            <a:ext cx="5024486" cy="4074981"/>
            <a:chOff x="2100607" y="923825"/>
            <a:chExt cx="5024486" cy="4074981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D5C022BB-722F-268F-D6B7-E46FFB69F994}"/>
                </a:ext>
              </a:extLst>
            </p:cNvPr>
            <p:cNvSpPr>
              <a:spLocks/>
            </p:cNvSpPr>
            <p:nvPr/>
          </p:nvSpPr>
          <p:spPr>
            <a:xfrm>
              <a:off x="2100607" y="923825"/>
              <a:ext cx="3995393" cy="2017338"/>
            </a:xfrm>
            <a:prstGeom prst="roundRect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indows Server (App)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455BBD9F-E82E-22CE-EDDC-7D2AEDAE3BEB}"/>
                </a:ext>
              </a:extLst>
            </p:cNvPr>
            <p:cNvSpPr>
              <a:spLocks/>
            </p:cNvSpPr>
            <p:nvPr/>
          </p:nvSpPr>
          <p:spPr>
            <a:xfrm>
              <a:off x="2383411" y="1496504"/>
              <a:ext cx="1621411" cy="1114719"/>
            </a:xfrm>
            <a:prstGeom prst="round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eb application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459B771-E554-C1AD-CBFB-85769F3052BE}"/>
                </a:ext>
              </a:extLst>
            </p:cNvPr>
            <p:cNvSpPr>
              <a:spLocks/>
            </p:cNvSpPr>
            <p:nvPr/>
          </p:nvSpPr>
          <p:spPr>
            <a:xfrm>
              <a:off x="4240492" y="1496504"/>
              <a:ext cx="1621411" cy="1114719"/>
            </a:xfrm>
            <a:prstGeom prst="round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Windows Services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8A7F463-5C3D-422C-7B80-1443FDA74D62}"/>
                </a:ext>
              </a:extLst>
            </p:cNvPr>
            <p:cNvCxnSpPr>
              <a:cxnSpLocks/>
              <a:stCxn id="3" idx="3"/>
            </p:cNvCxnSpPr>
            <p:nvPr/>
          </p:nvCxnSpPr>
          <p:spPr>
            <a:xfrm>
              <a:off x="6096000" y="1932494"/>
              <a:ext cx="1029093" cy="1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aphic 16" descr="Browser window outline">
              <a:extLst>
                <a:ext uri="{FF2B5EF4-FFF2-40B4-BE49-F238E27FC236}">
                  <a16:creationId xmlns:a16="http://schemas.microsoft.com/office/drawing/2014/main" id="{EB5228C8-B9B3-4464-FAEA-730DBA07DD30}"/>
                </a:ext>
              </a:extLst>
            </p:cNvPr>
            <p:cNvGrpSpPr/>
            <p:nvPr/>
          </p:nvGrpSpPr>
          <p:grpSpPr>
            <a:xfrm>
              <a:off x="4479893" y="3977520"/>
              <a:ext cx="1317788" cy="1021285"/>
              <a:chOff x="4479893" y="3977520"/>
              <a:chExt cx="1317788" cy="1021285"/>
            </a:xfrm>
            <a:solidFill>
              <a:schemeClr val="accent4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AC7F60-AF30-3DE0-261E-8556E45D7815}"/>
                  </a:ext>
                </a:extLst>
              </p:cNvPr>
              <p:cNvSpPr/>
              <p:nvPr/>
            </p:nvSpPr>
            <p:spPr>
              <a:xfrm>
                <a:off x="4479893" y="3977520"/>
                <a:ext cx="1317788" cy="1021285"/>
              </a:xfrm>
              <a:custGeom>
                <a:avLst/>
                <a:gdLst>
                  <a:gd name="connsiteX0" fmla="*/ 0 w 1317788"/>
                  <a:gd name="connsiteY0" fmla="*/ 0 h 1021285"/>
                  <a:gd name="connsiteX1" fmla="*/ 0 w 1317788"/>
                  <a:gd name="connsiteY1" fmla="*/ 1021286 h 1021285"/>
                  <a:gd name="connsiteX2" fmla="*/ 1317788 w 1317788"/>
                  <a:gd name="connsiteY2" fmla="*/ 1021286 h 1021285"/>
                  <a:gd name="connsiteX3" fmla="*/ 1317788 w 1317788"/>
                  <a:gd name="connsiteY3" fmla="*/ 0 h 1021285"/>
                  <a:gd name="connsiteX4" fmla="*/ 1284844 w 1317788"/>
                  <a:gd name="connsiteY4" fmla="*/ 32945 h 1021285"/>
                  <a:gd name="connsiteX5" fmla="*/ 1284844 w 1317788"/>
                  <a:gd name="connsiteY5" fmla="*/ 247085 h 1021285"/>
                  <a:gd name="connsiteX6" fmla="*/ 32945 w 1317788"/>
                  <a:gd name="connsiteY6" fmla="*/ 247085 h 1021285"/>
                  <a:gd name="connsiteX7" fmla="*/ 32945 w 1317788"/>
                  <a:gd name="connsiteY7" fmla="*/ 32945 h 1021285"/>
                  <a:gd name="connsiteX8" fmla="*/ 32945 w 1317788"/>
                  <a:gd name="connsiteY8" fmla="*/ 988341 h 1021285"/>
                  <a:gd name="connsiteX9" fmla="*/ 32945 w 1317788"/>
                  <a:gd name="connsiteY9" fmla="*/ 280030 h 1021285"/>
                  <a:gd name="connsiteX10" fmla="*/ 1284844 w 1317788"/>
                  <a:gd name="connsiteY10" fmla="*/ 280030 h 1021285"/>
                  <a:gd name="connsiteX11" fmla="*/ 1284844 w 1317788"/>
                  <a:gd name="connsiteY11" fmla="*/ 988341 h 102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17788" h="1021285">
                    <a:moveTo>
                      <a:pt x="0" y="0"/>
                    </a:moveTo>
                    <a:lnTo>
                      <a:pt x="0" y="1021286"/>
                    </a:lnTo>
                    <a:lnTo>
                      <a:pt x="1317788" y="1021286"/>
                    </a:lnTo>
                    <a:lnTo>
                      <a:pt x="1317788" y="0"/>
                    </a:lnTo>
                    <a:close/>
                    <a:moveTo>
                      <a:pt x="1284844" y="32945"/>
                    </a:moveTo>
                    <a:lnTo>
                      <a:pt x="1284844" y="247085"/>
                    </a:lnTo>
                    <a:lnTo>
                      <a:pt x="32945" y="247085"/>
                    </a:lnTo>
                    <a:lnTo>
                      <a:pt x="32945" y="32945"/>
                    </a:lnTo>
                    <a:close/>
                    <a:moveTo>
                      <a:pt x="32945" y="988341"/>
                    </a:moveTo>
                    <a:lnTo>
                      <a:pt x="32945" y="280030"/>
                    </a:lnTo>
                    <a:lnTo>
                      <a:pt x="1284844" y="280030"/>
                    </a:lnTo>
                    <a:lnTo>
                      <a:pt x="1284844" y="988341"/>
                    </a:ln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roy"/>
                    <a:ea typeface="+mn-ea"/>
                    <a:cs typeface="+mn-cs"/>
                  </a:rPr>
                  <a:t>Web</a:t>
                </a:r>
                <a:endParaRPr kumimoji="0" lang="en-MY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27119C0-7C40-4A29-5553-A5DE23DF65A2}"/>
                  </a:ext>
                </a:extLst>
              </p:cNvPr>
              <p:cNvSpPr/>
              <p:nvPr/>
            </p:nvSpPr>
            <p:spPr>
              <a:xfrm>
                <a:off x="5352928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F2B4052-3D1A-3299-BBD2-A866857AC1BA}"/>
                  </a:ext>
                </a:extLst>
              </p:cNvPr>
              <p:cNvSpPr/>
              <p:nvPr/>
            </p:nvSpPr>
            <p:spPr>
              <a:xfrm>
                <a:off x="5468235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001953C-0B4A-8C64-C8E7-5D6040950E63}"/>
                  </a:ext>
                </a:extLst>
              </p:cNvPr>
              <p:cNvSpPr/>
              <p:nvPr/>
            </p:nvSpPr>
            <p:spPr>
              <a:xfrm>
                <a:off x="5583541" y="4076354"/>
                <a:ext cx="65889" cy="65889"/>
              </a:xfrm>
              <a:custGeom>
                <a:avLst/>
                <a:gdLst>
                  <a:gd name="connsiteX0" fmla="*/ 65889 w 65889"/>
                  <a:gd name="connsiteY0" fmla="*/ 32945 h 65889"/>
                  <a:gd name="connsiteX1" fmla="*/ 32945 w 65889"/>
                  <a:gd name="connsiteY1" fmla="*/ 65889 h 65889"/>
                  <a:gd name="connsiteX2" fmla="*/ 0 w 65889"/>
                  <a:gd name="connsiteY2" fmla="*/ 32945 h 65889"/>
                  <a:gd name="connsiteX3" fmla="*/ 32945 w 65889"/>
                  <a:gd name="connsiteY3" fmla="*/ 0 h 65889"/>
                  <a:gd name="connsiteX4" fmla="*/ 65889 w 65889"/>
                  <a:gd name="connsiteY4" fmla="*/ 32945 h 6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89" h="65889">
                    <a:moveTo>
                      <a:pt x="65889" y="32945"/>
                    </a:moveTo>
                    <a:cubicBezTo>
                      <a:pt x="65889" y="51140"/>
                      <a:pt x="51140" y="65889"/>
                      <a:pt x="32945" y="65889"/>
                    </a:cubicBezTo>
                    <a:cubicBezTo>
                      <a:pt x="14750" y="65889"/>
                      <a:pt x="0" y="51140"/>
                      <a:pt x="0" y="32945"/>
                    </a:cubicBezTo>
                    <a:cubicBezTo>
                      <a:pt x="0" y="14750"/>
                      <a:pt x="14750" y="0"/>
                      <a:pt x="32945" y="0"/>
                    </a:cubicBezTo>
                    <a:cubicBezTo>
                      <a:pt x="51140" y="0"/>
                      <a:pt x="65889" y="14750"/>
                      <a:pt x="65889" y="3294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21960" cap="flat">
                <a:solidFill>
                  <a:schemeClr val="dk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endParaRPr>
              </a:p>
            </p:txBody>
          </p:sp>
        </p:grpSp>
        <p:sp>
          <p:nvSpPr>
            <p:cNvPr id="27" name="Graphic 14" descr="Browser window with solid fill">
              <a:extLst>
                <a:ext uri="{FF2B5EF4-FFF2-40B4-BE49-F238E27FC236}">
                  <a16:creationId xmlns:a16="http://schemas.microsoft.com/office/drawing/2014/main" id="{C4C54076-6F51-694A-B318-FABD7DA4E478}"/>
                </a:ext>
              </a:extLst>
            </p:cNvPr>
            <p:cNvSpPr/>
            <p:nvPr/>
          </p:nvSpPr>
          <p:spPr>
            <a:xfrm>
              <a:off x="2351507" y="3977521"/>
              <a:ext cx="1317788" cy="1021285"/>
            </a:xfrm>
            <a:custGeom>
              <a:avLst/>
              <a:gdLst>
                <a:gd name="connsiteX0" fmla="*/ 0 w 1317788"/>
                <a:gd name="connsiteY0" fmla="*/ 0 h 1021285"/>
                <a:gd name="connsiteX1" fmla="*/ 0 w 1317788"/>
                <a:gd name="connsiteY1" fmla="*/ 1021286 h 1021285"/>
                <a:gd name="connsiteX2" fmla="*/ 1317788 w 1317788"/>
                <a:gd name="connsiteY2" fmla="*/ 1021286 h 1021285"/>
                <a:gd name="connsiteX3" fmla="*/ 1317788 w 1317788"/>
                <a:gd name="connsiteY3" fmla="*/ 0 h 1021285"/>
                <a:gd name="connsiteX4" fmla="*/ 1136593 w 1317788"/>
                <a:gd name="connsiteY4" fmla="*/ 98834 h 1021285"/>
                <a:gd name="connsiteX5" fmla="*/ 1169537 w 1317788"/>
                <a:gd name="connsiteY5" fmla="*/ 131779 h 1021285"/>
                <a:gd name="connsiteX6" fmla="*/ 1136593 w 1317788"/>
                <a:gd name="connsiteY6" fmla="*/ 164724 h 1021285"/>
                <a:gd name="connsiteX7" fmla="*/ 1103648 w 1317788"/>
                <a:gd name="connsiteY7" fmla="*/ 131779 h 1021285"/>
                <a:gd name="connsiteX8" fmla="*/ 1136593 w 1317788"/>
                <a:gd name="connsiteY8" fmla="*/ 98834 h 1021285"/>
                <a:gd name="connsiteX9" fmla="*/ 1021286 w 1317788"/>
                <a:gd name="connsiteY9" fmla="*/ 98834 h 1021285"/>
                <a:gd name="connsiteX10" fmla="*/ 1054231 w 1317788"/>
                <a:gd name="connsiteY10" fmla="*/ 131779 h 1021285"/>
                <a:gd name="connsiteX11" fmla="*/ 1021286 w 1317788"/>
                <a:gd name="connsiteY11" fmla="*/ 164724 h 1021285"/>
                <a:gd name="connsiteX12" fmla="*/ 988341 w 1317788"/>
                <a:gd name="connsiteY12" fmla="*/ 131779 h 1021285"/>
                <a:gd name="connsiteX13" fmla="*/ 1021286 w 1317788"/>
                <a:gd name="connsiteY13" fmla="*/ 98834 h 1021285"/>
                <a:gd name="connsiteX14" fmla="*/ 905980 w 1317788"/>
                <a:gd name="connsiteY14" fmla="*/ 98834 h 1021285"/>
                <a:gd name="connsiteX15" fmla="*/ 938924 w 1317788"/>
                <a:gd name="connsiteY15" fmla="*/ 131779 h 1021285"/>
                <a:gd name="connsiteX16" fmla="*/ 905980 w 1317788"/>
                <a:gd name="connsiteY16" fmla="*/ 164724 h 1021285"/>
                <a:gd name="connsiteX17" fmla="*/ 873035 w 1317788"/>
                <a:gd name="connsiteY17" fmla="*/ 131779 h 1021285"/>
                <a:gd name="connsiteX18" fmla="*/ 905980 w 1317788"/>
                <a:gd name="connsiteY18" fmla="*/ 98834 h 1021285"/>
                <a:gd name="connsiteX19" fmla="*/ 1218954 w 1317788"/>
                <a:gd name="connsiteY19" fmla="*/ 922452 h 1021285"/>
                <a:gd name="connsiteX20" fmla="*/ 98834 w 1317788"/>
                <a:gd name="connsiteY20" fmla="*/ 922452 h 1021285"/>
                <a:gd name="connsiteX21" fmla="*/ 98834 w 1317788"/>
                <a:gd name="connsiteY21" fmla="*/ 263558 h 1021285"/>
                <a:gd name="connsiteX22" fmla="*/ 1218954 w 1317788"/>
                <a:gd name="connsiteY22" fmla="*/ 263558 h 102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7788" h="1021285">
                  <a:moveTo>
                    <a:pt x="0" y="0"/>
                  </a:moveTo>
                  <a:lnTo>
                    <a:pt x="0" y="1021286"/>
                  </a:lnTo>
                  <a:lnTo>
                    <a:pt x="1317788" y="1021286"/>
                  </a:lnTo>
                  <a:lnTo>
                    <a:pt x="1317788" y="0"/>
                  </a:lnTo>
                  <a:close/>
                  <a:moveTo>
                    <a:pt x="1136593" y="98834"/>
                  </a:moveTo>
                  <a:cubicBezTo>
                    <a:pt x="1154788" y="98834"/>
                    <a:pt x="1169537" y="113583"/>
                    <a:pt x="1169537" y="131779"/>
                  </a:cubicBezTo>
                  <a:cubicBezTo>
                    <a:pt x="1169537" y="149974"/>
                    <a:pt x="1154788" y="164724"/>
                    <a:pt x="1136593" y="164724"/>
                  </a:cubicBezTo>
                  <a:cubicBezTo>
                    <a:pt x="1118397" y="164724"/>
                    <a:pt x="1103648" y="149974"/>
                    <a:pt x="1103648" y="131779"/>
                  </a:cubicBezTo>
                  <a:cubicBezTo>
                    <a:pt x="1103648" y="113583"/>
                    <a:pt x="1118397" y="98834"/>
                    <a:pt x="1136593" y="98834"/>
                  </a:cubicBezTo>
                  <a:close/>
                  <a:moveTo>
                    <a:pt x="1021286" y="98834"/>
                  </a:moveTo>
                  <a:cubicBezTo>
                    <a:pt x="1039481" y="98834"/>
                    <a:pt x="1054231" y="113583"/>
                    <a:pt x="1054231" y="131779"/>
                  </a:cubicBezTo>
                  <a:cubicBezTo>
                    <a:pt x="1054231" y="149974"/>
                    <a:pt x="1039481" y="164724"/>
                    <a:pt x="1021286" y="164724"/>
                  </a:cubicBezTo>
                  <a:cubicBezTo>
                    <a:pt x="1003091" y="164724"/>
                    <a:pt x="988341" y="149974"/>
                    <a:pt x="988341" y="131779"/>
                  </a:cubicBezTo>
                  <a:cubicBezTo>
                    <a:pt x="988341" y="113583"/>
                    <a:pt x="1003091" y="98834"/>
                    <a:pt x="1021286" y="98834"/>
                  </a:cubicBezTo>
                  <a:close/>
                  <a:moveTo>
                    <a:pt x="905980" y="98834"/>
                  </a:moveTo>
                  <a:cubicBezTo>
                    <a:pt x="924175" y="98834"/>
                    <a:pt x="938924" y="113583"/>
                    <a:pt x="938924" y="131779"/>
                  </a:cubicBezTo>
                  <a:cubicBezTo>
                    <a:pt x="938924" y="149974"/>
                    <a:pt x="924175" y="164724"/>
                    <a:pt x="905980" y="164724"/>
                  </a:cubicBezTo>
                  <a:cubicBezTo>
                    <a:pt x="887784" y="164724"/>
                    <a:pt x="873035" y="149974"/>
                    <a:pt x="873035" y="131779"/>
                  </a:cubicBezTo>
                  <a:cubicBezTo>
                    <a:pt x="873035" y="113583"/>
                    <a:pt x="887784" y="98834"/>
                    <a:pt x="905980" y="98834"/>
                  </a:cubicBezTo>
                  <a:close/>
                  <a:moveTo>
                    <a:pt x="1218954" y="922452"/>
                  </a:moveTo>
                  <a:lnTo>
                    <a:pt x="98834" y="922452"/>
                  </a:lnTo>
                  <a:lnTo>
                    <a:pt x="98834" y="263558"/>
                  </a:lnTo>
                  <a:lnTo>
                    <a:pt x="1218954" y="263558"/>
                  </a:lnTo>
                  <a:close/>
                </a:path>
              </a:pathLst>
            </a:custGeom>
            <a:solidFill>
              <a:schemeClr val="accent4"/>
            </a:solidFill>
            <a:ln w="21960" cap="flat">
              <a:solidFill>
                <a:schemeClr val="dk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"/>
                  <a:ea typeface="+mn-ea"/>
                  <a:cs typeface="+mn-cs"/>
                </a:rPr>
                <a:t>Desktop</a:t>
              </a:r>
              <a:endParaRPr kumimoji="0" lang="en-MY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5493DFB7-6E6E-3A56-B148-4A2173CB7F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10402" y="2941163"/>
              <a:ext cx="0" cy="1046375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79122EDA-8726-CD02-94B2-72C4D076DE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43609" y="2941163"/>
              <a:ext cx="0" cy="1046375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Title">
            <a:extLst>
              <a:ext uri="{FF2B5EF4-FFF2-40B4-BE49-F238E27FC236}">
                <a16:creationId xmlns:a16="http://schemas.microsoft.com/office/drawing/2014/main" id="{6F2E1FC3-D139-1453-6E08-B62ACBB9FE16}"/>
              </a:ext>
            </a:extLst>
          </p:cNvPr>
          <p:cNvGraphicFramePr>
            <a:graphicFrameLocks noGrp="1"/>
          </p:cNvGraphicFramePr>
          <p:nvPr/>
        </p:nvGraphicFramePr>
        <p:xfrm>
          <a:off x="332337" y="425974"/>
          <a:ext cx="5763663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99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75899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5011865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Final Architecture</a:t>
                      </a:r>
                      <a:endParaRPr lang="en-US" sz="4000" dirty="0">
                        <a:latin typeface="+mj-lt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implified)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2" name="Cylinder 1">
            <a:extLst>
              <a:ext uri="{FF2B5EF4-FFF2-40B4-BE49-F238E27FC236}">
                <a16:creationId xmlns:a16="http://schemas.microsoft.com/office/drawing/2014/main" id="{2265ED1B-A211-B56C-B9DF-5D518A2900E8}"/>
              </a:ext>
            </a:extLst>
          </p:cNvPr>
          <p:cNvSpPr/>
          <p:nvPr/>
        </p:nvSpPr>
        <p:spPr>
          <a:xfrm>
            <a:off x="7523599" y="1784802"/>
            <a:ext cx="1499569" cy="1693920"/>
          </a:xfrm>
          <a:prstGeom prst="can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W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PostgreSQ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sp>
        <p:nvSpPr>
          <p:cNvPr id="4" name="Cylinder 3">
            <a:extLst>
              <a:ext uri="{FF2B5EF4-FFF2-40B4-BE49-F238E27FC236}">
                <a16:creationId xmlns:a16="http://schemas.microsoft.com/office/drawing/2014/main" id="{5D3C7054-534E-56BB-B7FB-A20E643F105F}"/>
              </a:ext>
            </a:extLst>
          </p:cNvPr>
          <p:cNvSpPr/>
          <p:nvPr/>
        </p:nvSpPr>
        <p:spPr>
          <a:xfrm>
            <a:off x="7523598" y="4032863"/>
            <a:ext cx="1499569" cy="1693920"/>
          </a:xfrm>
          <a:prstGeom prst="can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W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S3</a:t>
            </a:r>
            <a:endParaRPr kumimoji="0" lang="en-MY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</p:txBody>
      </p: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9AC1F3B0-D5D0-795E-8D30-FCE996932853}"/>
              </a:ext>
            </a:extLst>
          </p:cNvPr>
          <p:cNvCxnSpPr>
            <a:stCxn id="3" idx="3"/>
            <a:endCxn id="4" idx="2"/>
          </p:cNvCxnSpPr>
          <p:nvPr/>
        </p:nvCxnSpPr>
        <p:spPr>
          <a:xfrm>
            <a:off x="6494506" y="2631762"/>
            <a:ext cx="1029092" cy="2248061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167D489E-09E3-59FE-0C78-08894B378643}"/>
              </a:ext>
            </a:extLst>
          </p:cNvPr>
          <p:cNvCxnSpPr>
            <a:stCxn id="4" idx="3"/>
          </p:cNvCxnSpPr>
          <p:nvPr/>
        </p:nvCxnSpPr>
        <p:spPr>
          <a:xfrm rot="5400000" flipH="1">
            <a:off x="5826791" y="3280191"/>
            <a:ext cx="28710" cy="4864475"/>
          </a:xfrm>
          <a:prstGeom prst="bentConnector4">
            <a:avLst>
              <a:gd name="adj1" fmla="val -1957416"/>
              <a:gd name="adj2" fmla="val 10000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66AA043-49E8-8E29-6D14-370FD91CAA61}"/>
              </a:ext>
            </a:extLst>
          </p:cNvPr>
          <p:cNvCxnSpPr>
            <a:cxnSpLocks/>
            <a:stCxn id="4" idx="3"/>
          </p:cNvCxnSpPr>
          <p:nvPr/>
        </p:nvCxnSpPr>
        <p:spPr>
          <a:xfrm rot="5400000" flipH="1">
            <a:off x="6890983" y="4344383"/>
            <a:ext cx="28710" cy="2736091"/>
          </a:xfrm>
          <a:prstGeom prst="bentConnector4">
            <a:avLst>
              <a:gd name="adj1" fmla="val -1957419"/>
              <a:gd name="adj2" fmla="val 9990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986767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itle">
            <a:extLst>
              <a:ext uri="{FF2B5EF4-FFF2-40B4-BE49-F238E27FC236}">
                <a16:creationId xmlns:a16="http://schemas.microsoft.com/office/drawing/2014/main" id="{2FD429C5-6D18-05FE-4FF5-1581FFF432A1}"/>
              </a:ext>
            </a:extLst>
          </p:cNvPr>
          <p:cNvGraphicFramePr>
            <a:graphicFrameLocks noGrp="1"/>
          </p:cNvGraphicFramePr>
          <p:nvPr/>
        </p:nvGraphicFramePr>
        <p:xfrm>
          <a:off x="271638" y="451894"/>
          <a:ext cx="4692248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23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06023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080202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dirty="0">
                          <a:latin typeface="+mj-lt"/>
                        </a:rPr>
                        <a:t>Team Work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888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as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8AD37223-EBF4-CEF3-7969-A6EEA49B127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838200" y="1798638"/>
          <a:ext cx="10121764" cy="335280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6137593">
                  <a:extLst>
                    <a:ext uri="{9D8B030D-6E8A-4147-A177-3AD203B41FA5}">
                      <a16:colId xmlns:a16="http://schemas.microsoft.com/office/drawing/2014/main" val="2537043684"/>
                    </a:ext>
                  </a:extLst>
                </a:gridCol>
                <a:gridCol w="3984171">
                  <a:extLst>
                    <a:ext uri="{9D8B030D-6E8A-4147-A177-3AD203B41FA5}">
                      <a16:colId xmlns:a16="http://schemas.microsoft.com/office/drawing/2014/main" val="14386788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800" dirty="0"/>
                        <a:t>Areas</a:t>
                      </a:r>
                      <a:endParaRPr lang="en-MY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Members</a:t>
                      </a:r>
                      <a:endParaRPr lang="en-MY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913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2800" dirty="0"/>
                        <a:t>Database migration</a:t>
                      </a:r>
                    </a:p>
                    <a:p>
                      <a:pPr marL="45720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2800" dirty="0"/>
                        <a:t>Application code compatibility</a:t>
                      </a:r>
                      <a:endParaRPr lang="en-MY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YiFan (app code) Arthur (</a:t>
                      </a:r>
                      <a:r>
                        <a:rPr lang="en-US" sz="2800" dirty="0" err="1"/>
                        <a:t>db</a:t>
                      </a:r>
                      <a:r>
                        <a:rPr lang="en-US" sz="2800" dirty="0"/>
                        <a:t> migration)</a:t>
                      </a:r>
                      <a:endParaRPr lang="en-MY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71115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2800" dirty="0"/>
                        <a:t>SQL syntaxes transformation using ChatGPT 4 and Python</a:t>
                      </a:r>
                      <a:endParaRPr lang="en-MY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Gyan (AI)</a:t>
                      </a:r>
                    </a:p>
                    <a:p>
                      <a:r>
                        <a:rPr lang="en-US" sz="2800" dirty="0"/>
                        <a:t>Anwar (python)</a:t>
                      </a:r>
                      <a:endParaRPr lang="en-MY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1167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2800" dirty="0"/>
                        <a:t>Migrate binary data in database to AWS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Szuat Er (app code)</a:t>
                      </a:r>
                    </a:p>
                    <a:p>
                      <a:r>
                        <a:rPr lang="en-US" sz="2800" dirty="0"/>
                        <a:t>Zack (app code)</a:t>
                      </a:r>
                      <a:endParaRPr lang="en-MY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52154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835730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FF859-0E93-4313-C41A-9B5B55F48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62000" y="1478943"/>
            <a:ext cx="10515600" cy="4377979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6000" dirty="0">
                <a:solidFill>
                  <a:schemeClr val="accent3"/>
                </a:solidFill>
                <a:latin typeface="+mj-lt"/>
              </a:rPr>
              <a:t>Thank You</a:t>
            </a:r>
            <a:endParaRPr lang="en-MY" sz="6000" dirty="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85523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C948AA-793C-7723-AB96-3D671F61B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se of </a:t>
            </a:r>
            <a:r>
              <a:rPr lang="en-GB" err="1"/>
              <a:t>Langchai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C9F99A-154D-8B28-5019-E7AB56D6E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23964C-3D8A-9ABB-D2D2-22B6075154D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Framework for developing applications powered by language models</a:t>
            </a:r>
          </a:p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Parses common programming language source files to make best use of LLM context window</a:t>
            </a:r>
          </a:p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Eases automation of repetitive / mechanical programming tasks</a:t>
            </a:r>
          </a:p>
        </p:txBody>
      </p:sp>
      <p:pic>
        <p:nvPicPr>
          <p:cNvPr id="8" name="Picture 7" descr="A logo with a bird and a chain&#10;&#10;Description automatically generated">
            <a:extLst>
              <a:ext uri="{FF2B5EF4-FFF2-40B4-BE49-F238E27FC236}">
                <a16:creationId xmlns:a16="http://schemas.microsoft.com/office/drawing/2014/main" id="{F7757D83-35E8-E0A2-D21F-F51D2A1E70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619" y="123825"/>
            <a:ext cx="2773381" cy="145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9005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itle">
            <a:extLst>
              <a:ext uri="{FF2B5EF4-FFF2-40B4-BE49-F238E27FC236}">
                <a16:creationId xmlns:a16="http://schemas.microsoft.com/office/drawing/2014/main" id="{556FA651-DCDF-8532-DD1D-CD96908BDE7F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1227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Evil Landlord</a:t>
                      </a: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ckathon 2023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2" name="Picture Placeholder 7" descr="Cartoon of a person holding a bag of money and a person in a hat and a person in a hat and a person in a hat and a person in a hat and a person in a hat&#10;&#10;Description automatically generated">
            <a:extLst>
              <a:ext uri="{FF2B5EF4-FFF2-40B4-BE49-F238E27FC236}">
                <a16:creationId xmlns:a16="http://schemas.microsoft.com/office/drawing/2014/main" id="{C89C6BF2-A6DC-8A99-FCFB-7DB129DB3AF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485647" y="2749868"/>
            <a:ext cx="2160207" cy="216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31322316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">
            <a:extLst>
              <a:ext uri="{FF2B5EF4-FFF2-40B4-BE49-F238E27FC236}">
                <a16:creationId xmlns:a16="http://schemas.microsoft.com/office/drawing/2014/main" id="{2C00ABC4-F407-8304-2DD6-FE051FA02D88}"/>
              </a:ext>
            </a:extLst>
          </p:cNvPr>
          <p:cNvGraphicFramePr>
            <a:graphicFrameLocks noGrp="1"/>
          </p:cNvGraphicFramePr>
          <p:nvPr/>
        </p:nvGraphicFramePr>
        <p:xfrm>
          <a:off x="8842549" y="799792"/>
          <a:ext cx="3193556" cy="845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277699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617053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4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ndlord’s</a:t>
                      </a:r>
                      <a:endParaRPr lang="en-US" sz="4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1798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ms</a:t>
                      </a:r>
                    </a:p>
                  </a:txBody>
                  <a:tcPr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0E880DF-41FB-E87C-D37F-FE2E187A04DF}"/>
              </a:ext>
            </a:extLst>
          </p:cNvPr>
          <p:cNvSpPr txBox="1"/>
          <p:nvPr/>
        </p:nvSpPr>
        <p:spPr>
          <a:xfrm>
            <a:off x="9092861" y="1724423"/>
            <a:ext cx="3099139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5BBC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he Property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ee Li Xia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software test enginee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he Maintenance Gu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hmad Idzuan Rosli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senior software enginee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idan Lim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principal software engineer)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5BBCE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he Building Admin Gu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Choong Chun Jet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software engineer level 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Gan Hong Ji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(software development manager)</a:t>
            </a:r>
          </a:p>
        </p:txBody>
      </p:sp>
      <p:pic>
        <p:nvPicPr>
          <p:cNvPr id="15" name="Content Placeholder 14" descr="A group of people standing together&#10;&#10;Description automatically generated">
            <a:extLst>
              <a:ext uri="{FF2B5EF4-FFF2-40B4-BE49-F238E27FC236}">
                <a16:creationId xmlns:a16="http://schemas.microsoft.com/office/drawing/2014/main" id="{63A01919-E8E1-867D-426A-02953B542A5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0" y="34925"/>
            <a:ext cx="8842549" cy="6823075"/>
          </a:xfr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CA9C9C0-DA31-5BB4-82A3-4BD3100F2E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364" y="1804807"/>
            <a:ext cx="988839" cy="9582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7A30D7D-5F6A-28FF-714F-B863E07208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3385" y="1914604"/>
            <a:ext cx="669127" cy="9605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4D027AF-62E5-9073-2075-DEEF3B861C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2441" y="1541928"/>
            <a:ext cx="772645" cy="11446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E7BC024-5CD3-E99C-DB1C-195430B2EF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5134" y="1435475"/>
            <a:ext cx="958257" cy="9582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D94DE5F-3E03-BD74-65F0-3F6324D7A1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0036" y="1724423"/>
            <a:ext cx="772645" cy="9621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4AF02485-0F25-3F44-419C-5FB191AB6069}"/>
              </a:ext>
            </a:extLst>
          </p:cNvPr>
          <p:cNvSpPr txBox="1">
            <a:spLocks/>
          </p:cNvSpPr>
          <p:nvPr/>
        </p:nvSpPr>
        <p:spPr>
          <a:xfrm>
            <a:off x="7743645" y="1435475"/>
            <a:ext cx="9877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Aida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17A47CD-0BCD-21EA-1FE4-678E6CA10B44}"/>
              </a:ext>
            </a:extLst>
          </p:cNvPr>
          <p:cNvSpPr txBox="1">
            <a:spLocks/>
          </p:cNvSpPr>
          <p:nvPr/>
        </p:nvSpPr>
        <p:spPr>
          <a:xfrm>
            <a:off x="5959224" y="1250809"/>
            <a:ext cx="5590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Je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870C162-AE9E-C30F-D124-D62A14AE9861}"/>
              </a:ext>
            </a:extLst>
          </p:cNvPr>
          <p:cNvSpPr txBox="1">
            <a:spLocks/>
          </p:cNvSpPr>
          <p:nvPr/>
        </p:nvSpPr>
        <p:spPr>
          <a:xfrm>
            <a:off x="4030646" y="1083354"/>
            <a:ext cx="922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Li Xia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B89EE87-560F-4F9F-400D-7F59F252DCC0}"/>
              </a:ext>
            </a:extLst>
          </p:cNvPr>
          <p:cNvSpPr txBox="1">
            <a:spLocks/>
          </p:cNvSpPr>
          <p:nvPr/>
        </p:nvSpPr>
        <p:spPr>
          <a:xfrm>
            <a:off x="2279454" y="1172596"/>
            <a:ext cx="1107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Hong Ji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4DFC8C1-AB09-FBBC-138C-0EF0C4EC9440}"/>
              </a:ext>
            </a:extLst>
          </p:cNvPr>
          <p:cNvSpPr txBox="1">
            <a:spLocks/>
          </p:cNvSpPr>
          <p:nvPr/>
        </p:nvSpPr>
        <p:spPr>
          <a:xfrm>
            <a:off x="437416" y="1460779"/>
            <a:ext cx="928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04050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Idzuan</a:t>
            </a:r>
          </a:p>
        </p:txBody>
      </p:sp>
    </p:spTree>
    <p:extLst>
      <p:ext uri="{BB962C8B-B14F-4D97-AF65-F5344CB8AC3E}">
        <p14:creationId xmlns:p14="http://schemas.microsoft.com/office/powerpoint/2010/main" val="25588841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erson standing on top of a car surrounded by many people&#10;&#10;Description automatically generated">
            <a:extLst>
              <a:ext uri="{FF2B5EF4-FFF2-40B4-BE49-F238E27FC236}">
                <a16:creationId xmlns:a16="http://schemas.microsoft.com/office/drawing/2014/main" id="{10D16F63-BE70-E37F-9039-552D5CD0F4C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2130" r="12130"/>
          <a:stretch>
            <a:fillRect/>
          </a:stretch>
        </p:blipFill>
        <p:spPr/>
      </p:pic>
      <p:graphicFrame>
        <p:nvGraphicFramePr>
          <p:cNvPr id="4" name="Title 1">
            <a:extLst>
              <a:ext uri="{FF2B5EF4-FFF2-40B4-BE49-F238E27FC236}">
                <a16:creationId xmlns:a16="http://schemas.microsoft.com/office/drawing/2014/main" id="{11689D76-03CF-CA52-069B-2AC05302631D}"/>
              </a:ext>
            </a:extLst>
          </p:cNvPr>
          <p:cNvGraphicFramePr>
            <a:graphicFrameLocks noGrp="1"/>
          </p:cNvGraphicFramePr>
          <p:nvPr/>
        </p:nvGraphicFramePr>
        <p:xfrm>
          <a:off x="0" y="3000837"/>
          <a:ext cx="5709683" cy="1318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  <a:endParaRPr lang="en-US" sz="24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4400" b="0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blems</a:t>
                      </a: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3CB0911B-2BDE-5D30-A87F-FF9ACDD59C1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9460839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cartoon of a person holding papers and a bunch of laptops&#10;&#10;Description automatically generated">
            <a:extLst>
              <a:ext uri="{FF2B5EF4-FFF2-40B4-BE49-F238E27FC236}">
                <a16:creationId xmlns:a16="http://schemas.microsoft.com/office/drawing/2014/main" id="{D9DB2C06-E071-7FCB-8E4E-A5136A8DD65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/>
          <a:stretch>
            <a:fillRect/>
          </a:stretch>
        </p:blipFill>
        <p:spPr/>
      </p:pic>
      <p:pic>
        <p:nvPicPr>
          <p:cNvPr id="5" name="Picture Placeholder 4" descr="A diagram of a diagram of a computer system&#10;&#10;Description automatically generated with medium confidence">
            <a:extLst>
              <a:ext uri="{FF2B5EF4-FFF2-40B4-BE49-F238E27FC236}">
                <a16:creationId xmlns:a16="http://schemas.microsoft.com/office/drawing/2014/main" id="{B241DAB3-7226-2BB6-638E-D73BEE325D1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/>
          <a:stretch>
            <a:fillRect/>
          </a:stretch>
        </p:blipFill>
        <p:spPr/>
      </p:pic>
      <p:pic>
        <p:nvPicPr>
          <p:cNvPr id="16" name="Picture Placeholder 15" descr="A cartoon of a snail driving a car&#10;&#10;Description automatically generated">
            <a:extLst>
              <a:ext uri="{FF2B5EF4-FFF2-40B4-BE49-F238E27FC236}">
                <a16:creationId xmlns:a16="http://schemas.microsoft.com/office/drawing/2014/main" id="{954B4862-2F3D-0091-200F-3B0F2A6416F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/>
          <a:srcRect l="32" r="32"/>
          <a:stretch>
            <a:fillRect/>
          </a:stretch>
        </p:blipFill>
        <p:spPr/>
      </p:pic>
      <p:pic>
        <p:nvPicPr>
          <p:cNvPr id="18" name="Picture Placeholder 17" descr="A cartoon of a person in front of a computer&#10;&#10;Description automatically generated">
            <a:extLst>
              <a:ext uri="{FF2B5EF4-FFF2-40B4-BE49-F238E27FC236}">
                <a16:creationId xmlns:a16="http://schemas.microsoft.com/office/drawing/2014/main" id="{AC4CA00F-0B33-BBBC-509E-ED01CE6D36F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/>
          <a:srcRect l="32" r="32"/>
          <a:stretch>
            <a:fillRect/>
          </a:stretch>
        </p:blipFill>
        <p:spPr/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E04F3482-3BCE-70DF-A726-98CF7EB1BEF6}"/>
              </a:ext>
            </a:extLst>
          </p:cNvPr>
          <p:cNvSpPr>
            <a:spLocks/>
          </p:cNvSpPr>
          <p:nvPr/>
        </p:nvSpPr>
        <p:spPr bwMode="auto">
          <a:xfrm>
            <a:off x="3495080" y="1552416"/>
            <a:ext cx="2493286" cy="2484223"/>
          </a:xfrm>
          <a:custGeom>
            <a:avLst/>
            <a:gdLst>
              <a:gd name="T0" fmla="*/ 1057 w 1057"/>
              <a:gd name="T1" fmla="*/ 0 h 1057"/>
              <a:gd name="T2" fmla="*/ 1057 w 1057"/>
              <a:gd name="T3" fmla="*/ 96 h 1057"/>
              <a:gd name="T4" fmla="*/ 96 w 1057"/>
              <a:gd name="T5" fmla="*/ 1057 h 1057"/>
              <a:gd name="T6" fmla="*/ 0 w 1057"/>
              <a:gd name="T7" fmla="*/ 1057 h 1057"/>
              <a:gd name="T8" fmla="*/ 1057 w 1057"/>
              <a:gd name="T9" fmla="*/ 0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0"/>
                </a:moveTo>
                <a:cubicBezTo>
                  <a:pt x="1057" y="96"/>
                  <a:pt x="1057" y="96"/>
                  <a:pt x="1057" y="96"/>
                </a:cubicBezTo>
                <a:cubicBezTo>
                  <a:pt x="536" y="117"/>
                  <a:pt x="117" y="536"/>
                  <a:pt x="96" y="1057"/>
                </a:cubicBezTo>
                <a:cubicBezTo>
                  <a:pt x="0" y="1057"/>
                  <a:pt x="0" y="1057"/>
                  <a:pt x="0" y="1057"/>
                </a:cubicBezTo>
                <a:cubicBezTo>
                  <a:pt x="21" y="483"/>
                  <a:pt x="483" y="21"/>
                  <a:pt x="105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7168A3E7-984F-F4A2-3E1C-5934A6E03F8B}"/>
              </a:ext>
            </a:extLst>
          </p:cNvPr>
          <p:cNvSpPr>
            <a:spLocks/>
          </p:cNvSpPr>
          <p:nvPr/>
        </p:nvSpPr>
        <p:spPr bwMode="auto">
          <a:xfrm>
            <a:off x="6193762" y="1552417"/>
            <a:ext cx="2493038" cy="2485472"/>
          </a:xfrm>
          <a:custGeom>
            <a:avLst/>
            <a:gdLst>
              <a:gd name="T0" fmla="*/ 1057 w 1057"/>
              <a:gd name="T1" fmla="*/ 1057 h 1057"/>
              <a:gd name="T2" fmla="*/ 961 w 1057"/>
              <a:gd name="T3" fmla="*/ 1057 h 1057"/>
              <a:gd name="T4" fmla="*/ 0 w 1057"/>
              <a:gd name="T5" fmla="*/ 96 h 1057"/>
              <a:gd name="T6" fmla="*/ 0 w 1057"/>
              <a:gd name="T7" fmla="*/ 0 h 1057"/>
              <a:gd name="T8" fmla="*/ 1057 w 1057"/>
              <a:gd name="T9" fmla="*/ 1057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1057"/>
                </a:moveTo>
                <a:cubicBezTo>
                  <a:pt x="961" y="1057"/>
                  <a:pt x="961" y="1057"/>
                  <a:pt x="961" y="1057"/>
                </a:cubicBezTo>
                <a:cubicBezTo>
                  <a:pt x="940" y="536"/>
                  <a:pt x="521" y="117"/>
                  <a:pt x="0" y="96"/>
                </a:cubicBezTo>
                <a:cubicBezTo>
                  <a:pt x="0" y="0"/>
                  <a:pt x="0" y="0"/>
                  <a:pt x="0" y="0"/>
                </a:cubicBezTo>
                <a:cubicBezTo>
                  <a:pt x="574" y="21"/>
                  <a:pt x="1036" y="483"/>
                  <a:pt x="1057" y="10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eeform 9">
            <a:extLst>
              <a:ext uri="{FF2B5EF4-FFF2-40B4-BE49-F238E27FC236}">
                <a16:creationId xmlns:a16="http://schemas.microsoft.com/office/drawing/2014/main" id="{88C95952-0A79-4A21-9EDE-9F9D760E8B2D}"/>
              </a:ext>
            </a:extLst>
          </p:cNvPr>
          <p:cNvSpPr>
            <a:spLocks/>
          </p:cNvSpPr>
          <p:nvPr/>
        </p:nvSpPr>
        <p:spPr bwMode="auto">
          <a:xfrm>
            <a:off x="3503706" y="4230641"/>
            <a:ext cx="2494534" cy="2488900"/>
          </a:xfrm>
          <a:custGeom>
            <a:avLst/>
            <a:gdLst>
              <a:gd name="T0" fmla="*/ 1057 w 1057"/>
              <a:gd name="T1" fmla="*/ 961 h 1057"/>
              <a:gd name="T2" fmla="*/ 1057 w 1057"/>
              <a:gd name="T3" fmla="*/ 1057 h 1057"/>
              <a:gd name="T4" fmla="*/ 0 w 1057"/>
              <a:gd name="T5" fmla="*/ 0 h 1057"/>
              <a:gd name="T6" fmla="*/ 96 w 1057"/>
              <a:gd name="T7" fmla="*/ 0 h 1057"/>
              <a:gd name="T8" fmla="*/ 1057 w 1057"/>
              <a:gd name="T9" fmla="*/ 961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961"/>
                </a:moveTo>
                <a:cubicBezTo>
                  <a:pt x="1057" y="1057"/>
                  <a:pt x="1057" y="1057"/>
                  <a:pt x="1057" y="1057"/>
                </a:cubicBezTo>
                <a:cubicBezTo>
                  <a:pt x="483" y="1036"/>
                  <a:pt x="21" y="574"/>
                  <a:pt x="0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117" y="521"/>
                  <a:pt x="536" y="940"/>
                  <a:pt x="1057" y="96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ED6A0D95-7DF5-1B82-9295-FC73BD6D79A1}"/>
              </a:ext>
            </a:extLst>
          </p:cNvPr>
          <p:cNvSpPr>
            <a:spLocks/>
          </p:cNvSpPr>
          <p:nvPr/>
        </p:nvSpPr>
        <p:spPr bwMode="auto">
          <a:xfrm>
            <a:off x="6193762" y="4230641"/>
            <a:ext cx="2493038" cy="2505491"/>
          </a:xfrm>
          <a:custGeom>
            <a:avLst/>
            <a:gdLst>
              <a:gd name="T0" fmla="*/ 1057 w 1057"/>
              <a:gd name="T1" fmla="*/ 0 h 1057"/>
              <a:gd name="T2" fmla="*/ 0 w 1057"/>
              <a:gd name="T3" fmla="*/ 1057 h 1057"/>
              <a:gd name="T4" fmla="*/ 0 w 1057"/>
              <a:gd name="T5" fmla="*/ 961 h 1057"/>
              <a:gd name="T6" fmla="*/ 961 w 1057"/>
              <a:gd name="T7" fmla="*/ 0 h 1057"/>
              <a:gd name="T8" fmla="*/ 1057 w 1057"/>
              <a:gd name="T9" fmla="*/ 0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7" h="1057">
                <a:moveTo>
                  <a:pt x="1057" y="0"/>
                </a:moveTo>
                <a:cubicBezTo>
                  <a:pt x="1036" y="574"/>
                  <a:pt x="574" y="1036"/>
                  <a:pt x="0" y="1057"/>
                </a:cubicBezTo>
                <a:cubicBezTo>
                  <a:pt x="0" y="961"/>
                  <a:pt x="0" y="961"/>
                  <a:pt x="0" y="961"/>
                </a:cubicBezTo>
                <a:cubicBezTo>
                  <a:pt x="521" y="940"/>
                  <a:pt x="940" y="521"/>
                  <a:pt x="961" y="0"/>
                </a:cubicBezTo>
                <a:lnTo>
                  <a:pt x="105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2F05A2-AE95-8634-E711-273F6F311B8E}"/>
              </a:ext>
            </a:extLst>
          </p:cNvPr>
          <p:cNvSpPr/>
          <p:nvPr/>
        </p:nvSpPr>
        <p:spPr>
          <a:xfrm>
            <a:off x="0" y="2662790"/>
            <a:ext cx="306963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High Hosting Cost 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Each customer has their own instance, which is hosted in their individual VM.</a:t>
            </a:r>
            <a:r>
              <a:rPr kumimoji="0" lang="en-MY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1ACC58-764E-41D9-4C76-384404E27C34}"/>
              </a:ext>
            </a:extLst>
          </p:cNvPr>
          <p:cNvSpPr/>
          <p:nvPr/>
        </p:nvSpPr>
        <p:spPr>
          <a:xfrm>
            <a:off x="-1" y="4442682"/>
            <a:ext cx="306963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Low Performance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High memory consumption will cause the system to run slower and slower</a:t>
            </a:r>
            <a:r>
              <a:rPr kumimoji="0" lang="en-MY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E1963B-0D02-3FF4-2B53-613DAFA9FD5A}"/>
              </a:ext>
            </a:extLst>
          </p:cNvPr>
          <p:cNvSpPr/>
          <p:nvPr/>
        </p:nvSpPr>
        <p:spPr>
          <a:xfrm>
            <a:off x="9135785" y="2662790"/>
            <a:ext cx="306963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Stateful Architecture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It did not have good scalability, and memory consumption increases with each user</a:t>
            </a:r>
            <a:r>
              <a:rPr kumimoji="0" lang="en-MY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7532D7-2372-11BF-3862-8A81ADA3628C}"/>
              </a:ext>
            </a:extLst>
          </p:cNvPr>
          <p:cNvSpPr/>
          <p:nvPr/>
        </p:nvSpPr>
        <p:spPr>
          <a:xfrm>
            <a:off x="9135784" y="4442682"/>
            <a:ext cx="3069631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600" b="1" i="0" u="none" strike="noStrike" kern="1200" cap="none" spc="0" normalizeH="0" baseline="0" noProof="0" dirty="0">
                <a:ln>
                  <a:noFill/>
                </a:ln>
                <a:solidFill>
                  <a:srgbClr val="36EEFF"/>
                </a:solidFill>
                <a:effectLst/>
                <a:uLnTx/>
                <a:uFillTx/>
                <a:latin typeface="Gilroy Bold"/>
                <a:ea typeface="Open Sans Semibold" panose="020B0706030804020204" pitchFamily="34" charset="0"/>
                <a:cs typeface="Open Sans Semibold" panose="020B0706030804020204" pitchFamily="34" charset="0"/>
              </a:rPr>
              <a:t>Unsuitable Framework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36EEFF"/>
              </a:solidFill>
              <a:effectLst/>
              <a:uLnTx/>
              <a:uFillTx/>
              <a:latin typeface="Gilroy 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The XAF web framework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were not designed or tested for high-load scenarios where a single web server handles hundreds or thousands of concurrent web clients</a:t>
            </a:r>
            <a:r>
              <a:rPr kumimoji="0" lang="en-MY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/>
                <a:ea typeface="+mn-ea"/>
                <a:cs typeface="+mn-cs"/>
              </a:rPr>
              <a:t>. </a:t>
            </a:r>
          </a:p>
        </p:txBody>
      </p:sp>
      <p:graphicFrame>
        <p:nvGraphicFramePr>
          <p:cNvPr id="14" name="Title 1">
            <a:extLst>
              <a:ext uri="{FF2B5EF4-FFF2-40B4-BE49-F238E27FC236}">
                <a16:creationId xmlns:a16="http://schemas.microsoft.com/office/drawing/2014/main" id="{91D832BA-FCFF-64AD-EFDB-D4277B1CC820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blems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and Performance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2033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3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6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1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erson proposing to a person at a table with candles and flowers&#10;&#10;Description automatically generated">
            <a:extLst>
              <a:ext uri="{FF2B5EF4-FFF2-40B4-BE49-F238E27FC236}">
                <a16:creationId xmlns:a16="http://schemas.microsoft.com/office/drawing/2014/main" id="{2B98C9D8-7C86-5694-E296-8B2427B9AE2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2130" r="12130"/>
          <a:stretch>
            <a:fillRect/>
          </a:stretch>
        </p:blipFill>
        <p:spPr/>
      </p:pic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DAE0AD8-1210-92C6-E8DE-220E73E28A6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/>
      </p:pic>
      <p:graphicFrame>
        <p:nvGraphicFramePr>
          <p:cNvPr id="4" name="Title 1">
            <a:extLst>
              <a:ext uri="{FF2B5EF4-FFF2-40B4-BE49-F238E27FC236}">
                <a16:creationId xmlns:a16="http://schemas.microsoft.com/office/drawing/2014/main" id="{57698620-F6DF-CB31-B27C-18F4DE9A65B2}"/>
              </a:ext>
            </a:extLst>
          </p:cNvPr>
          <p:cNvGraphicFramePr>
            <a:graphicFrameLocks noGrp="1"/>
          </p:cNvGraphicFramePr>
          <p:nvPr/>
        </p:nvGraphicFramePr>
        <p:xfrm>
          <a:off x="0" y="3000837"/>
          <a:ext cx="5709683" cy="1318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en-US" sz="24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44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</a:t>
                      </a:r>
                      <a:endParaRPr lang="en-GB" sz="440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37024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9F2FFF-E023-E207-F968-0840E8ED080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5095" y="2353800"/>
            <a:ext cx="4954588" cy="382746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e bottleneck is at the web cli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Containerize the web client and place it into an auto-scaling gro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Cluster a mix of small and large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Sharing resources between customers with low utilization and high util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As a result, resource optimization leads to cost re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Response time could potentially improve as the web client scales out during peak hours.</a:t>
            </a:r>
          </a:p>
        </p:txBody>
      </p:sp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AA142341-1B7B-CEFA-B8A3-1F14C732D2A5}"/>
              </a:ext>
            </a:extLst>
          </p:cNvPr>
          <p:cNvGraphicFramePr>
            <a:graphicFrameLocks noGrp="1"/>
          </p:cNvGraphicFramePr>
          <p:nvPr/>
        </p:nvGraphicFramePr>
        <p:xfrm>
          <a:off x="0" y="676737"/>
          <a:ext cx="5709683" cy="1763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caling</a:t>
                      </a:r>
                      <a:endParaRPr lang="en-US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7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-tenancy and horizontal scaling for web client</a:t>
                      </a:r>
                      <a:br>
                        <a:rPr lang="en-GB" sz="17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GB" sz="1700" b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A3C39B5D-9173-6DC8-E5DE-A28D70590E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9382" y="0"/>
            <a:ext cx="655261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5957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44A7725-693D-EC8D-CE59-3C0FA4DE942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2130" r="12130"/>
          <a:stretch>
            <a:fillRect/>
          </a:stretch>
        </p:blipFill>
        <p:spPr/>
      </p:pic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DAE0AD8-1210-92C6-E8DE-220E73E28A6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/>
      </p:pic>
      <p:graphicFrame>
        <p:nvGraphicFramePr>
          <p:cNvPr id="4" name="Title 1">
            <a:extLst>
              <a:ext uri="{FF2B5EF4-FFF2-40B4-BE49-F238E27FC236}">
                <a16:creationId xmlns:a16="http://schemas.microsoft.com/office/drawing/2014/main" id="{57698620-F6DF-CB31-B27C-18F4DE9A65B2}"/>
              </a:ext>
            </a:extLst>
          </p:cNvPr>
          <p:cNvGraphicFramePr>
            <a:graphicFrameLocks noGrp="1"/>
          </p:cNvGraphicFramePr>
          <p:nvPr/>
        </p:nvGraphicFramePr>
        <p:xfrm>
          <a:off x="0" y="3000837"/>
          <a:ext cx="5709683" cy="26594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. Automated Assistant</a:t>
                      </a:r>
                      <a:endParaRPr lang="en-US" sz="24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44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nnection &amp; License Allocation Assistant </a:t>
                      </a:r>
                      <a:endParaRPr lang="en-GB" sz="440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056945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292AD809-5249-A9E3-99D6-6F6F1D36A2F8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urden and Overhead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ed to database connections and license allocation maintenance</a:t>
                      </a:r>
                      <a:endParaRPr lang="en-GB" sz="2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C1D4D9-4035-8864-5EF4-F727238DA96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We currently rely on humans to maintain the list of database connection strings and their respective license allocations.</a:t>
            </a:r>
          </a:p>
          <a:p>
            <a:r>
              <a:rPr lang="en-US" dirty="0"/>
              <a:t>This practice burdens our </a:t>
            </a:r>
            <a:r>
              <a:rPr lang="en-US" dirty="0" err="1"/>
              <a:t>CloudOps</a:t>
            </a:r>
            <a:r>
              <a:rPr lang="en-US" dirty="0"/>
              <a:t> colleagues as the list of connection strings becomes lengthy due to our proposal.</a:t>
            </a:r>
          </a:p>
          <a:p>
            <a:r>
              <a:rPr lang="en-US" dirty="0"/>
              <a:t>An automated assistant will be needed.</a:t>
            </a:r>
          </a:p>
          <a:p>
            <a:r>
              <a:rPr lang="en-US" dirty="0"/>
              <a:t>To be continued in the next page….</a:t>
            </a:r>
          </a:p>
        </p:txBody>
      </p:sp>
    </p:spTree>
    <p:extLst>
      <p:ext uri="{BB962C8B-B14F-4D97-AF65-F5344CB8AC3E}">
        <p14:creationId xmlns:p14="http://schemas.microsoft.com/office/powerpoint/2010/main" val="33756877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292AD809-5249-A9E3-99D6-6F6F1D36A2F8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urden and Overhead (Cont.)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ed to database connections and license allocation maintenance</a:t>
                      </a:r>
                      <a:endParaRPr lang="en-GB" sz="2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C1D4D9-4035-8864-5EF4-F727238DA96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e will go from this          to       something like this.          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F922E4-FE36-3AC9-08DD-764E680FDE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41365"/>
            <a:ext cx="3797495" cy="383559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978CE45-F0B3-ABF5-2605-4BD68C6F3792}"/>
              </a:ext>
            </a:extLst>
          </p:cNvPr>
          <p:cNvGrpSpPr/>
          <p:nvPr/>
        </p:nvGrpSpPr>
        <p:grpSpPr>
          <a:xfrm>
            <a:off x="5948869" y="2323347"/>
            <a:ext cx="4762745" cy="4102311"/>
            <a:chOff x="5948869" y="2323347"/>
            <a:chExt cx="4762745" cy="410231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C9BBDD4-3B83-1EAF-5A31-D3B4BC958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48869" y="2323347"/>
              <a:ext cx="4762745" cy="410231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26BFB3D-DE17-5B5B-4FC1-C2D04240C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000" y="3429000"/>
              <a:ext cx="315374" cy="33536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3D3B3E6-6F1A-8A72-C8A6-CCF02C37C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000" y="5599981"/>
              <a:ext cx="315374" cy="3353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573665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white board with red cross marks on it&#10;&#10;Description automatically generated">
            <a:extLst>
              <a:ext uri="{FF2B5EF4-FFF2-40B4-BE49-F238E27FC236}">
                <a16:creationId xmlns:a16="http://schemas.microsoft.com/office/drawing/2014/main" id="{2166BDDD-B38A-105D-FC41-33D94FBD913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2130" r="12130"/>
          <a:stretch>
            <a:fillRect/>
          </a:stretch>
        </p:blipFill>
        <p:spPr/>
      </p:pic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3D7B6FA-0174-9878-832B-B87E2346457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/>
      </p:pic>
      <p:graphicFrame>
        <p:nvGraphicFramePr>
          <p:cNvPr id="4" name="Title 1">
            <a:extLst>
              <a:ext uri="{FF2B5EF4-FFF2-40B4-BE49-F238E27FC236}">
                <a16:creationId xmlns:a16="http://schemas.microsoft.com/office/drawing/2014/main" id="{42AFE0FA-700F-BE35-6547-0AE049AC8C76}"/>
              </a:ext>
            </a:extLst>
          </p:cNvPr>
          <p:cNvGraphicFramePr>
            <a:graphicFrameLocks noGrp="1"/>
          </p:cNvGraphicFramePr>
          <p:nvPr/>
        </p:nvGraphicFramePr>
        <p:xfrm>
          <a:off x="0" y="3000837"/>
          <a:ext cx="5709683" cy="1988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626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64291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4957766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30022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en-US" sz="240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T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44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copes that will not be covered</a:t>
                      </a:r>
                      <a:endParaRPr lang="en-GB" sz="440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0065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C948AA-793C-7723-AB96-3D671F61B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se of </a:t>
            </a:r>
            <a:r>
              <a:rPr lang="en-GB" err="1"/>
              <a:t>gpt</a:t>
            </a:r>
            <a:r>
              <a:rPr lang="en-GB"/>
              <a:t>-re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C9F99A-154D-8B28-5019-E7AB56D6E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23964C-3D8A-9ABB-D2D2-22B6075154D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Open source tool provided by Microsoft to perform 1</a:t>
            </a:r>
            <a:r>
              <a:rPr lang="en-GB" sz="3600" baseline="30000"/>
              <a:t>st</a:t>
            </a:r>
            <a:r>
              <a:rPr lang="en-GB" sz="3600"/>
              <a:t> line review of pull requests using OpenAI or Azure OpenAI Services</a:t>
            </a:r>
          </a:p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Rapidly comments on PR contents potential changes for developer to consider – taking load off human reviewers</a:t>
            </a:r>
          </a:p>
          <a:p>
            <a:pPr marL="360363" indent="-360363">
              <a:buFont typeface="Arial" panose="020B0604020202020204" pitchFamily="34" charset="0"/>
              <a:buChar char="•"/>
            </a:pPr>
            <a:r>
              <a:rPr lang="en-GB" sz="3600"/>
              <a:t>Easy to integrate to most CI pipelin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4B692C5-9376-9A75-0AD5-9BDD5EC90929}"/>
              </a:ext>
            </a:extLst>
          </p:cNvPr>
          <p:cNvGrpSpPr/>
          <p:nvPr/>
        </p:nvGrpSpPr>
        <p:grpSpPr>
          <a:xfrm>
            <a:off x="7143383" y="34105"/>
            <a:ext cx="3731082" cy="1451052"/>
            <a:chOff x="6863983" y="5107755"/>
            <a:chExt cx="3731082" cy="1451052"/>
          </a:xfrm>
        </p:grpSpPr>
        <p:pic>
          <p:nvPicPr>
            <p:cNvPr id="4" name="Picture 3" descr="A black cat in a circle&#10;&#10;Description automatically generated">
              <a:extLst>
                <a:ext uri="{FF2B5EF4-FFF2-40B4-BE49-F238E27FC236}">
                  <a16:creationId xmlns:a16="http://schemas.microsoft.com/office/drawing/2014/main" id="{C3792082-D291-FBFE-849C-3036B933F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83" y="5107755"/>
              <a:ext cx="1383901" cy="1451052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B656D99-A0FD-B2BE-355D-5B8793524AC1}"/>
                </a:ext>
              </a:extLst>
            </p:cNvPr>
            <p:cNvSpPr txBox="1"/>
            <p:nvPr/>
          </p:nvSpPr>
          <p:spPr>
            <a:xfrm>
              <a:off x="8247884" y="5648615"/>
              <a:ext cx="23471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l"/>
              <a:r>
                <a:rPr lang="en-GB" err="1"/>
                <a:t>microsoft</a:t>
              </a:r>
              <a:r>
                <a:rPr lang="en-GB"/>
                <a:t>/</a:t>
              </a:r>
              <a:r>
                <a:rPr lang="en-GB" err="1"/>
                <a:t>gpt</a:t>
              </a:r>
              <a:r>
                <a:rPr lang="en-GB"/>
                <a:t>-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41313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 1">
            <a:extLst>
              <a:ext uri="{FF2B5EF4-FFF2-40B4-BE49-F238E27FC236}">
                <a16:creationId xmlns:a16="http://schemas.microsoft.com/office/drawing/2014/main" id="{1B87A519-410A-6AB7-C80C-7F0046647CB4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ut of Scope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e to time constraint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7B9A314-3938-6655-7DEC-6B7958B66D7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License Features (Audit Trail, E-Signature, User Lock Out, Session Time Out, IMS, etc.)</a:t>
            </a:r>
          </a:p>
          <a:p>
            <a:pPr lvl="1"/>
            <a:r>
              <a:rPr lang="en-US" dirty="0"/>
              <a:t>Due to time constraints, we will assume that the same license features will be applied to all tenants.</a:t>
            </a:r>
          </a:p>
          <a:p>
            <a:r>
              <a:rPr lang="en-US" dirty="0"/>
              <a:t>Hot reloading will not be supported; IQMS Windows service will need to be restarted for the new connection or tenant to be instantiated.</a:t>
            </a:r>
          </a:p>
        </p:txBody>
      </p:sp>
    </p:spTree>
    <p:extLst>
      <p:ext uri="{BB962C8B-B14F-4D97-AF65-F5344CB8AC3E}">
        <p14:creationId xmlns:p14="http://schemas.microsoft.com/office/powerpoint/2010/main" val="128404077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itle 1">
            <a:extLst>
              <a:ext uri="{FF2B5EF4-FFF2-40B4-BE49-F238E27FC236}">
                <a16:creationId xmlns:a16="http://schemas.microsoft.com/office/drawing/2014/main" id="{1B87A519-410A-6AB7-C80C-7F0046647CB4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ut of Scope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7B9A314-3938-6655-7DEC-6B7958B66D7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IQMS Windows Service</a:t>
            </a:r>
          </a:p>
          <a:p>
            <a:pPr lvl="1"/>
            <a:r>
              <a:rPr lang="en-US" dirty="0"/>
              <a:t>As we progress in the </a:t>
            </a:r>
            <a:r>
              <a:rPr lang="en-US" dirty="0" err="1"/>
              <a:t>webification</a:t>
            </a:r>
            <a:r>
              <a:rPr lang="en-US" dirty="0"/>
              <a:t> process, legacy clients like Windows and old web clients will be retired.</a:t>
            </a:r>
          </a:p>
          <a:p>
            <a:pPr lvl="1"/>
            <a:r>
              <a:rPr lang="en-US" dirty="0"/>
              <a:t>Eventually, the role of this Windows service will be reduced to just handling the database connection strings and managing license usage.</a:t>
            </a:r>
          </a:p>
          <a:p>
            <a:r>
              <a:rPr lang="en-US" dirty="0"/>
              <a:t>Identity Server</a:t>
            </a:r>
          </a:p>
          <a:p>
            <a:pPr lvl="1"/>
            <a:r>
              <a:rPr lang="en-US" dirty="0"/>
              <a:t>It is stateless and performing well.</a:t>
            </a:r>
          </a:p>
          <a:p>
            <a:pPr lvl="1"/>
            <a:r>
              <a:rPr lang="en-US" dirty="0"/>
              <a:t>Eventually it may be replaced by </a:t>
            </a:r>
            <a:r>
              <a:rPr lang="en-US" dirty="0" err="1"/>
              <a:t>Ideagen</a:t>
            </a:r>
            <a:r>
              <a:rPr lang="en-US" dirty="0"/>
              <a:t> Home.</a:t>
            </a:r>
          </a:p>
        </p:txBody>
      </p:sp>
    </p:spTree>
    <p:extLst>
      <p:ext uri="{BB962C8B-B14F-4D97-AF65-F5344CB8AC3E}">
        <p14:creationId xmlns:p14="http://schemas.microsoft.com/office/powerpoint/2010/main" val="202896341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292AD809-5249-A9E3-99D6-6F6F1D36A2F8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sponsibilities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 job description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C1D4D9-4035-8864-5EF4-F727238DA96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The Property Agent</a:t>
            </a:r>
          </a:p>
          <a:p>
            <a:pPr lvl="1"/>
            <a:r>
              <a:rPr lang="en-US" dirty="0"/>
              <a:t>Li Xian will conduct the performance test and report the results.</a:t>
            </a:r>
          </a:p>
          <a:p>
            <a:r>
              <a:rPr lang="en-US" dirty="0">
                <a:solidFill>
                  <a:srgbClr val="FFC000"/>
                </a:solidFill>
              </a:rPr>
              <a:t>The Maintenance Guy</a:t>
            </a:r>
          </a:p>
          <a:p>
            <a:pPr lvl="1"/>
            <a:r>
              <a:rPr lang="en-US" dirty="0"/>
              <a:t>Idzuan and Aidan will configure AWS resources and containerize the web client.</a:t>
            </a:r>
          </a:p>
          <a:p>
            <a:r>
              <a:rPr lang="en-US" dirty="0">
                <a:solidFill>
                  <a:schemeClr val="accent2"/>
                </a:solidFill>
              </a:rPr>
              <a:t>The Building Admin Guy</a:t>
            </a:r>
          </a:p>
          <a:p>
            <a:pPr lvl="1"/>
            <a:r>
              <a:rPr lang="en-US" dirty="0"/>
              <a:t>Jet and Hong Ji will set up IQMS and implement the automated assistant.</a:t>
            </a:r>
          </a:p>
          <a:p>
            <a:pPr lvl="1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F35749-339B-6B57-7B1C-49A0F8916C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9036" y="4259009"/>
            <a:ext cx="530861" cy="6882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B44B7E-1108-6D69-3D5F-67037D0BB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3998" y="4259009"/>
            <a:ext cx="456191" cy="6882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44867F-4C99-C780-B161-D3CE4478AF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4385" y="1657208"/>
            <a:ext cx="480868" cy="68824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0BB565C-A80D-7431-45AE-BD6FC12E80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0883" y="2778580"/>
            <a:ext cx="493194" cy="6882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8CDFD1-1051-52A7-8C92-D43A2F92CE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4639" y="2778580"/>
            <a:ext cx="457454" cy="68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66040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tle 1">
            <a:extLst>
              <a:ext uri="{FF2B5EF4-FFF2-40B4-BE49-F238E27FC236}">
                <a16:creationId xmlns:a16="http://schemas.microsoft.com/office/drawing/2014/main" id="{292AD809-5249-A9E3-99D6-6F6F1D36A2F8}"/>
              </a:ext>
            </a:extLst>
          </p:cNvPr>
          <p:cNvGraphicFramePr>
            <a:graphicFrameLocks noGrp="1"/>
          </p:cNvGraphicFramePr>
          <p:nvPr/>
        </p:nvGraphicFramePr>
        <p:xfrm>
          <a:off x="0" y="432342"/>
          <a:ext cx="10911016" cy="893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55">
                  <a:extLst>
                    <a:ext uri="{9D8B030D-6E8A-4147-A177-3AD203B41FA5}">
                      <a16:colId xmlns:a16="http://schemas.microsoft.com/office/drawing/2014/main" val="3302077148"/>
                    </a:ext>
                  </a:extLst>
                </a:gridCol>
                <a:gridCol w="382044">
                  <a:extLst>
                    <a:ext uri="{9D8B030D-6E8A-4147-A177-3AD203B41FA5}">
                      <a16:colId xmlns:a16="http://schemas.microsoft.com/office/drawing/2014/main" val="4212010196"/>
                    </a:ext>
                  </a:extLst>
                </a:gridCol>
                <a:gridCol w="10165717">
                  <a:extLst>
                    <a:ext uri="{9D8B030D-6E8A-4147-A177-3AD203B41FA5}">
                      <a16:colId xmlns:a16="http://schemas.microsoft.com/office/drawing/2014/main" val="3489142385"/>
                    </a:ext>
                  </a:extLst>
                </a:gridCol>
              </a:tblGrid>
              <a:tr h="588894"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ank You</a:t>
                      </a:r>
                      <a:endParaRPr lang="en-US" sz="3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33988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32780"/>
                  </a:ext>
                </a:extLst>
              </a:tr>
            </a:tbl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C1D4D9-4035-8864-5EF4-F727238DA96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6562738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Group Update &amp; Demo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0425745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Lessons Learnt &amp; Conclusion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3150802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BC96DA-1EF6-247B-3C13-952820713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GB" dirty="0"/>
              <a:t>Use Case Retrospective – Outcome? Impact?</a:t>
            </a: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2F26F7C-2373-663E-4AE2-71F942DC1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4C7894C7-9609-6172-8F08-D52CB2A7B209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216600186"/>
              </p:ext>
            </p:extLst>
          </p:nvPr>
        </p:nvGraphicFramePr>
        <p:xfrm>
          <a:off x="287338" y="1520825"/>
          <a:ext cx="5664200" cy="4645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516189-6BC6-005A-8654-375BB0E089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B152943-AA82-BABC-C8E0-0ACB1AEB088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5FEA783F-55E3-B1E7-E1AF-FD8C000CB8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6042718"/>
              </p:ext>
            </p:extLst>
          </p:nvPr>
        </p:nvGraphicFramePr>
        <p:xfrm>
          <a:off x="6291263" y="1395395"/>
          <a:ext cx="5661137" cy="47704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10859778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Retrofit multi-tenanc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bjectiv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bjecti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Quality of output / Effica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Impact – Time saved / $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pic>
        <p:nvPicPr>
          <p:cNvPr id="23" name="Graphic 22" descr="Harvey Balls 75% with solid fill">
            <a:extLst>
              <a:ext uri="{FF2B5EF4-FFF2-40B4-BE49-F238E27FC236}">
                <a16:creationId xmlns:a16="http://schemas.microsoft.com/office/drawing/2014/main" id="{9D04467B-0418-5255-2D4A-576C6F77E7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94108" y="5305950"/>
            <a:ext cx="482721" cy="482721"/>
          </a:xfrm>
          <a:prstGeom prst="rect">
            <a:avLst/>
          </a:prstGeom>
        </p:spPr>
      </p:pic>
      <p:pic>
        <p:nvPicPr>
          <p:cNvPr id="28" name="Graphic 27" descr="Harvey Balls 50% with solid fill">
            <a:extLst>
              <a:ext uri="{FF2B5EF4-FFF2-40B4-BE49-F238E27FC236}">
                <a16:creationId xmlns:a16="http://schemas.microsoft.com/office/drawing/2014/main" id="{3B8FE1BA-2320-2115-0A41-73F01CF6A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12571" y="5318736"/>
            <a:ext cx="482721" cy="48272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601229" y="488040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9495292" y="4880405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Impac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661155" y="488337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pic>
        <p:nvPicPr>
          <p:cNvPr id="4" name="Graphic 3" descr="Harvey Balls 0% with solid fill">
            <a:extLst>
              <a:ext uri="{FF2B5EF4-FFF2-40B4-BE49-F238E27FC236}">
                <a16:creationId xmlns:a16="http://schemas.microsoft.com/office/drawing/2014/main" id="{42719D2E-4388-2AC5-5359-38986F2159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6043" y="1188021"/>
            <a:ext cx="306610" cy="291600"/>
          </a:xfrm>
          <a:prstGeom prst="rect">
            <a:avLst/>
          </a:prstGeom>
        </p:spPr>
      </p:pic>
      <p:pic>
        <p:nvPicPr>
          <p:cNvPr id="10" name="Graphic 9" descr="Harvey Balls 100% with solid fill">
            <a:extLst>
              <a:ext uri="{FF2B5EF4-FFF2-40B4-BE49-F238E27FC236}">
                <a16:creationId xmlns:a16="http://schemas.microsoft.com/office/drawing/2014/main" id="{F9483DD5-313D-F49F-30DE-60E0D16DA9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78979" y="1188739"/>
            <a:ext cx="305102" cy="290164"/>
          </a:xfrm>
          <a:prstGeom prst="rect">
            <a:avLst/>
          </a:prstGeom>
        </p:spPr>
      </p:pic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D396362-D683-79C0-4EE3-0D5321A4745B}"/>
              </a:ext>
            </a:extLst>
          </p:cNvPr>
          <p:cNvSpPr/>
          <p:nvPr/>
        </p:nvSpPr>
        <p:spPr>
          <a:xfrm flipH="1">
            <a:off x="1117558" y="1197454"/>
            <a:ext cx="786516" cy="27273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1D3FBB-1D8A-50A7-F7C1-87E4DF243C1C}"/>
              </a:ext>
            </a:extLst>
          </p:cNvPr>
          <p:cNvSpPr txBox="1"/>
          <p:nvPr/>
        </p:nvSpPr>
        <p:spPr>
          <a:xfrm>
            <a:off x="1540987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Hig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33BA13-E108-1F8D-F7F2-0BEB00AA630C}"/>
              </a:ext>
            </a:extLst>
          </p:cNvPr>
          <p:cNvSpPr txBox="1"/>
          <p:nvPr/>
        </p:nvSpPr>
        <p:spPr>
          <a:xfrm>
            <a:off x="256914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Minimal</a:t>
            </a:r>
          </a:p>
        </p:txBody>
      </p:sp>
      <p:pic>
        <p:nvPicPr>
          <p:cNvPr id="36" name="Graphic 35" descr="Harvey Balls 100% with solid fill">
            <a:extLst>
              <a:ext uri="{FF2B5EF4-FFF2-40B4-BE49-F238E27FC236}">
                <a16:creationId xmlns:a16="http://schemas.microsoft.com/office/drawing/2014/main" id="{5D6E79D9-ACDB-7351-6440-ADFDE3A3FC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93239" y="5305950"/>
            <a:ext cx="482722" cy="48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47314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Retrofit multi-tenanc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Strength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Pre-requisites for u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How can this be scaled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31788" y="486156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917290" y="4881311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cal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000103" y="487363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ase of use / Scalability</a:t>
            </a: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2578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Retrofit multi-tenanc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Weaknes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Caution poi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nhancement area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77324" y="488040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884550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5959587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 err="1">
                <a:solidFill>
                  <a:sysClr val="windowText" lastClr="000000"/>
                </a:solidFill>
              </a:rPr>
              <a:t>Deployability</a:t>
            </a:r>
            <a:endParaRPr lang="en-GB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528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BC6979F-16AB-F2E5-7D43-0A2C413366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319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BC6979F-16AB-F2E5-7D43-0A2C41336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07E8D6-4D54-0E03-0805-A27C8C4FB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ctivity – Tooling Profi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8954E3-1F41-45BE-FD56-C6BF166ABE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000" y="6408737"/>
            <a:ext cx="11294400" cy="224761"/>
          </a:xfrm>
        </p:spPr>
        <p:txBody>
          <a:bodyPr/>
          <a:lstStyle/>
          <a:p>
            <a:r>
              <a:rPr lang="en-GB" sz="800" dirty="0" err="1"/>
              <a:t>Github</a:t>
            </a:r>
            <a:r>
              <a:rPr lang="en-GB" sz="800" dirty="0"/>
              <a:t> Copilot chat and </a:t>
            </a:r>
            <a:r>
              <a:rPr lang="en-GB" sz="800" dirty="0" err="1"/>
              <a:t>Tabnine</a:t>
            </a:r>
            <a:r>
              <a:rPr lang="en-GB" sz="800" dirty="0"/>
              <a:t> provide chat based code discovery, explanation and refactoring capabilities based on a subset of the application codebase. </a:t>
            </a:r>
            <a:r>
              <a:rPr lang="en-GB" sz="800" dirty="0" err="1"/>
              <a:t>Langchain</a:t>
            </a:r>
            <a:r>
              <a:rPr lang="en-GB" sz="800" dirty="0"/>
              <a:t> able to search much larger codebase for context</a:t>
            </a:r>
          </a:p>
          <a:p>
            <a:r>
              <a:rPr lang="en-GB" sz="800" dirty="0"/>
              <a:t>Functionality not yet available from Amazon </a:t>
            </a:r>
            <a:r>
              <a:rPr lang="en-GB" sz="800" dirty="0" err="1"/>
              <a:t>CodeWhisperer</a:t>
            </a:r>
            <a:endParaRPr lang="en-GB" sz="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BA45FB-08BE-8AA5-7E9E-54DC0D2F83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Tools suited to tasks of different profi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66430C-3B73-5F18-1F91-F8A047B239B9}"/>
              </a:ext>
            </a:extLst>
          </p:cNvPr>
          <p:cNvSpPr/>
          <p:nvPr/>
        </p:nvSpPr>
        <p:spPr>
          <a:xfrm>
            <a:off x="353174" y="1505306"/>
            <a:ext cx="1862976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Discovery &amp; Document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7CAC78-ED19-44DB-0A0A-6F6BCA4097E4}"/>
              </a:ext>
            </a:extLst>
          </p:cNvPr>
          <p:cNvSpPr/>
          <p:nvPr/>
        </p:nvSpPr>
        <p:spPr>
          <a:xfrm>
            <a:off x="2415184" y="1497449"/>
            <a:ext cx="1773199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Write new code / tes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0B85A2-1362-665C-D929-E4A06F32F7FF}"/>
              </a:ext>
            </a:extLst>
          </p:cNvPr>
          <p:cNvSpPr/>
          <p:nvPr/>
        </p:nvSpPr>
        <p:spPr>
          <a:xfrm>
            <a:off x="4387417" y="1497448"/>
            <a:ext cx="5475249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Refactor existing Cod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158A50-D05C-0556-9F8B-BCB2222B1CBF}"/>
              </a:ext>
            </a:extLst>
          </p:cNvPr>
          <p:cNvSpPr/>
          <p:nvPr/>
        </p:nvSpPr>
        <p:spPr>
          <a:xfrm>
            <a:off x="4387417" y="2182592"/>
            <a:ext cx="2001799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Simple refactor &amp; small one time task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9EE1EE-975E-42B2-B6CF-B69C3E553291}"/>
              </a:ext>
            </a:extLst>
          </p:cNvPr>
          <p:cNvSpPr/>
          <p:nvPr/>
        </p:nvSpPr>
        <p:spPr>
          <a:xfrm>
            <a:off x="6603567" y="2182592"/>
            <a:ext cx="3259099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mplex refactor or requires repeat application of chang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90C3302-8860-B065-DEBC-EBA6BDACA74E}"/>
              </a:ext>
            </a:extLst>
          </p:cNvPr>
          <p:cNvSpPr/>
          <p:nvPr/>
        </p:nvSpPr>
        <p:spPr>
          <a:xfrm>
            <a:off x="10061700" y="1497448"/>
            <a:ext cx="1773199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Review Code</a:t>
            </a:r>
          </a:p>
        </p:txBody>
      </p:sp>
      <p:pic>
        <p:nvPicPr>
          <p:cNvPr id="16" name="Picture 15" descr="A logo with a bird and a chain&#10;&#10;Description automatically generated">
            <a:extLst>
              <a:ext uri="{FF2B5EF4-FFF2-40B4-BE49-F238E27FC236}">
                <a16:creationId xmlns:a16="http://schemas.microsoft.com/office/drawing/2014/main" id="{5E01C935-3E8B-7A50-F77A-0237379EE9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3130289"/>
            <a:ext cx="1857414" cy="971811"/>
          </a:xfrm>
          <a:prstGeom prst="rect">
            <a:avLst/>
          </a:prstGeom>
        </p:spPr>
      </p:pic>
      <p:pic>
        <p:nvPicPr>
          <p:cNvPr id="17" name="Picture 16" descr="A screenshot of a video game&#10;&#10;Description automatically generated">
            <a:extLst>
              <a:ext uri="{FF2B5EF4-FFF2-40B4-BE49-F238E27FC236}">
                <a16:creationId xmlns:a16="http://schemas.microsoft.com/office/drawing/2014/main" id="{9C431A46-C75D-CF5A-821B-DF33F5AC61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184" y="3130289"/>
            <a:ext cx="1773199" cy="930929"/>
          </a:xfrm>
          <a:prstGeom prst="rect">
            <a:avLst/>
          </a:prstGeom>
        </p:spPr>
      </p:pic>
      <p:pic>
        <p:nvPicPr>
          <p:cNvPr id="18" name="Picture 17" descr="A screenshot of a video game&#10;&#10;Description automatically generated">
            <a:extLst>
              <a:ext uri="{FF2B5EF4-FFF2-40B4-BE49-F238E27FC236}">
                <a16:creationId xmlns:a16="http://schemas.microsoft.com/office/drawing/2014/main" id="{B01750E9-6FE6-DB4C-E397-FE53C3C563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375" y="3130288"/>
            <a:ext cx="1773199" cy="930929"/>
          </a:xfrm>
          <a:prstGeom prst="rect">
            <a:avLst/>
          </a:prstGeom>
        </p:spPr>
      </p:pic>
      <p:pic>
        <p:nvPicPr>
          <p:cNvPr id="19" name="Picture 18" descr="A logo with a bird and a chain&#10;&#10;Description automatically generated">
            <a:extLst>
              <a:ext uri="{FF2B5EF4-FFF2-40B4-BE49-F238E27FC236}">
                <a16:creationId xmlns:a16="http://schemas.microsoft.com/office/drawing/2014/main" id="{0F069DF5-5745-39C4-9ED6-C01298E454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409" y="3130288"/>
            <a:ext cx="1857414" cy="97181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F958D20-7CEE-2CCF-2868-6A262B4CEF09}"/>
              </a:ext>
            </a:extLst>
          </p:cNvPr>
          <p:cNvSpPr txBox="1"/>
          <p:nvPr/>
        </p:nvSpPr>
        <p:spPr>
          <a:xfrm>
            <a:off x="10085654" y="3426475"/>
            <a:ext cx="1865511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GB" sz="1400" dirty="0"/>
              <a:t>Microsoft/</a:t>
            </a:r>
            <a:r>
              <a:rPr lang="en-GB" sz="1400" dirty="0" err="1"/>
              <a:t>gpt</a:t>
            </a:r>
            <a:r>
              <a:rPr lang="en-GB" sz="1400" dirty="0"/>
              <a:t>-review</a:t>
            </a:r>
          </a:p>
        </p:txBody>
      </p:sp>
      <p:pic>
        <p:nvPicPr>
          <p:cNvPr id="24" name="Picture 23" descr="A logo with a bird and a chain&#10;&#10;Description automatically generated">
            <a:extLst>
              <a:ext uri="{FF2B5EF4-FFF2-40B4-BE49-F238E27FC236}">
                <a16:creationId xmlns:a16="http://schemas.microsoft.com/office/drawing/2014/main" id="{65B930D7-AB13-83BF-C8EE-13508862EC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293" y="4200243"/>
            <a:ext cx="1857414" cy="971811"/>
          </a:xfrm>
          <a:prstGeom prst="rect">
            <a:avLst/>
          </a:prstGeom>
        </p:spPr>
      </p:pic>
      <p:pic>
        <p:nvPicPr>
          <p:cNvPr id="25" name="Picture 24" descr="A screenshot of a video game&#10;&#10;Description automatically generated">
            <a:extLst>
              <a:ext uri="{FF2B5EF4-FFF2-40B4-BE49-F238E27FC236}">
                <a16:creationId xmlns:a16="http://schemas.microsoft.com/office/drawing/2014/main" id="{FD97181A-F988-5683-FE9C-8DEE8DE683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4241125"/>
            <a:ext cx="1773199" cy="930929"/>
          </a:xfrm>
          <a:prstGeom prst="rect">
            <a:avLst/>
          </a:prstGeom>
        </p:spPr>
      </p:pic>
      <p:pic>
        <p:nvPicPr>
          <p:cNvPr id="26" name="Picture 25" descr="A logo of a computer code&#10;&#10;Description automatically generated">
            <a:extLst>
              <a:ext uri="{FF2B5EF4-FFF2-40B4-BE49-F238E27FC236}">
                <a16:creationId xmlns:a16="http://schemas.microsoft.com/office/drawing/2014/main" id="{02732560-0C4A-AD46-72CF-98B6054061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823" y="4241125"/>
            <a:ext cx="1772560" cy="895143"/>
          </a:xfrm>
          <a:prstGeom prst="rect">
            <a:avLst/>
          </a:prstGeom>
        </p:spPr>
      </p:pic>
      <p:pic>
        <p:nvPicPr>
          <p:cNvPr id="27" name="Picture 26" descr="A black and white logo&#10;&#10;Description automatically generated">
            <a:extLst>
              <a:ext uri="{FF2B5EF4-FFF2-40B4-BE49-F238E27FC236}">
                <a16:creationId xmlns:a16="http://schemas.microsoft.com/office/drawing/2014/main" id="{F560F4CD-EC5E-4833-A725-8F3EA1961E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8817" y="5267564"/>
            <a:ext cx="1766832" cy="842643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">
            <a:extLst>
              <a:ext uri="{FF2B5EF4-FFF2-40B4-BE49-F238E27FC236}">
                <a16:creationId xmlns:a16="http://schemas.microsoft.com/office/drawing/2014/main" id="{5B09E749-E574-6A86-E9F7-AC7E21A825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74" y="5272381"/>
            <a:ext cx="1766832" cy="842643"/>
          </a:xfrm>
          <a:prstGeom prst="rect">
            <a:avLst/>
          </a:prstGeom>
        </p:spPr>
      </p:pic>
      <p:pic>
        <p:nvPicPr>
          <p:cNvPr id="29" name="Picture 28" descr="A black and white logo&#10;&#10;Description automatically generated">
            <a:extLst>
              <a:ext uri="{FF2B5EF4-FFF2-40B4-BE49-F238E27FC236}">
                <a16:creationId xmlns:a16="http://schemas.microsoft.com/office/drawing/2014/main" id="{FD31BFF5-024C-A5EE-3EB8-884DBB5C87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900" y="4239242"/>
            <a:ext cx="1776194" cy="847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40576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igration tool for client attach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bjectiv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bjecti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Quality of output / Effica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Impact – Time saved / $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pic>
        <p:nvPicPr>
          <p:cNvPr id="23" name="Graphic 22" descr="Harvey Balls 75% with solid fill">
            <a:extLst>
              <a:ext uri="{FF2B5EF4-FFF2-40B4-BE49-F238E27FC236}">
                <a16:creationId xmlns:a16="http://schemas.microsoft.com/office/drawing/2014/main" id="{9D04467B-0418-5255-2D4A-576C6F77E7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94108" y="5305950"/>
            <a:ext cx="482721" cy="482721"/>
          </a:xfrm>
          <a:prstGeom prst="rect">
            <a:avLst/>
          </a:prstGeom>
        </p:spPr>
      </p:pic>
      <p:pic>
        <p:nvPicPr>
          <p:cNvPr id="28" name="Graphic 27" descr="Harvey Balls 50% with solid fill">
            <a:extLst>
              <a:ext uri="{FF2B5EF4-FFF2-40B4-BE49-F238E27FC236}">
                <a16:creationId xmlns:a16="http://schemas.microsoft.com/office/drawing/2014/main" id="{3B8FE1BA-2320-2115-0A41-73F01CF6A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12571" y="5318736"/>
            <a:ext cx="482721" cy="48272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601229" y="488040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9495292" y="4880405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Impac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661155" y="488337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pic>
        <p:nvPicPr>
          <p:cNvPr id="4" name="Graphic 3" descr="Harvey Balls 0% with solid fill">
            <a:extLst>
              <a:ext uri="{FF2B5EF4-FFF2-40B4-BE49-F238E27FC236}">
                <a16:creationId xmlns:a16="http://schemas.microsoft.com/office/drawing/2014/main" id="{42719D2E-4388-2AC5-5359-38986F2159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6043" y="1188021"/>
            <a:ext cx="306610" cy="291600"/>
          </a:xfrm>
          <a:prstGeom prst="rect">
            <a:avLst/>
          </a:prstGeom>
        </p:spPr>
      </p:pic>
      <p:pic>
        <p:nvPicPr>
          <p:cNvPr id="10" name="Graphic 9" descr="Harvey Balls 100% with solid fill">
            <a:extLst>
              <a:ext uri="{FF2B5EF4-FFF2-40B4-BE49-F238E27FC236}">
                <a16:creationId xmlns:a16="http://schemas.microsoft.com/office/drawing/2014/main" id="{F9483DD5-313D-F49F-30DE-60E0D16DA9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78979" y="1188739"/>
            <a:ext cx="305102" cy="290164"/>
          </a:xfrm>
          <a:prstGeom prst="rect">
            <a:avLst/>
          </a:prstGeom>
        </p:spPr>
      </p:pic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D396362-D683-79C0-4EE3-0D5321A4745B}"/>
              </a:ext>
            </a:extLst>
          </p:cNvPr>
          <p:cNvSpPr/>
          <p:nvPr/>
        </p:nvSpPr>
        <p:spPr>
          <a:xfrm flipH="1">
            <a:off x="1117558" y="1197454"/>
            <a:ext cx="786516" cy="27273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1D3FBB-1D8A-50A7-F7C1-87E4DF243C1C}"/>
              </a:ext>
            </a:extLst>
          </p:cNvPr>
          <p:cNvSpPr txBox="1"/>
          <p:nvPr/>
        </p:nvSpPr>
        <p:spPr>
          <a:xfrm>
            <a:off x="1540987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Hig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33BA13-E108-1F8D-F7F2-0BEB00AA630C}"/>
              </a:ext>
            </a:extLst>
          </p:cNvPr>
          <p:cNvSpPr txBox="1"/>
          <p:nvPr/>
        </p:nvSpPr>
        <p:spPr>
          <a:xfrm>
            <a:off x="256914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Minimal</a:t>
            </a:r>
          </a:p>
        </p:txBody>
      </p:sp>
      <p:pic>
        <p:nvPicPr>
          <p:cNvPr id="36" name="Graphic 35" descr="Harvey Balls 100% with solid fill">
            <a:extLst>
              <a:ext uri="{FF2B5EF4-FFF2-40B4-BE49-F238E27FC236}">
                <a16:creationId xmlns:a16="http://schemas.microsoft.com/office/drawing/2014/main" id="{5D6E79D9-ACDB-7351-6440-ADFDE3A3FC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93239" y="5305950"/>
            <a:ext cx="482722" cy="48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0370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igration tool for client attach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Strength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Pre-requisites for u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How can this be scaled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31788" y="486156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917290" y="4881311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cal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000103" y="487363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ase of use / Scalability</a:t>
            </a: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82268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igration tool for client attach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Weaknes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Caution poi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nhancement area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77324" y="488040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884550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5959587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 err="1">
                <a:solidFill>
                  <a:sysClr val="windowText" lastClr="000000"/>
                </a:solidFill>
              </a:rPr>
              <a:t>Deployability</a:t>
            </a:r>
            <a:endParaRPr lang="en-GB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2578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ove database logic to application ti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bjectiv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bjecti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Quality of output / Effica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Impact – Time saved / $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Efficacy</a:t>
            </a:r>
          </a:p>
        </p:txBody>
      </p:sp>
      <p:pic>
        <p:nvPicPr>
          <p:cNvPr id="23" name="Graphic 22" descr="Harvey Balls 75% with solid fill">
            <a:extLst>
              <a:ext uri="{FF2B5EF4-FFF2-40B4-BE49-F238E27FC236}">
                <a16:creationId xmlns:a16="http://schemas.microsoft.com/office/drawing/2014/main" id="{9D04467B-0418-5255-2D4A-576C6F77E7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94108" y="5305950"/>
            <a:ext cx="482721" cy="482721"/>
          </a:xfrm>
          <a:prstGeom prst="rect">
            <a:avLst/>
          </a:prstGeom>
        </p:spPr>
      </p:pic>
      <p:pic>
        <p:nvPicPr>
          <p:cNvPr id="28" name="Graphic 27" descr="Harvey Balls 50% with solid fill">
            <a:extLst>
              <a:ext uri="{FF2B5EF4-FFF2-40B4-BE49-F238E27FC236}">
                <a16:creationId xmlns:a16="http://schemas.microsoft.com/office/drawing/2014/main" id="{3B8FE1BA-2320-2115-0A41-73F01CF6A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12571" y="5318736"/>
            <a:ext cx="482721" cy="48272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601229" y="488040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9495292" y="4880405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Impac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661155" y="488337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Impact</a:t>
            </a:r>
          </a:p>
        </p:txBody>
      </p:sp>
      <p:pic>
        <p:nvPicPr>
          <p:cNvPr id="4" name="Graphic 3" descr="Harvey Balls 0% with solid fill">
            <a:extLst>
              <a:ext uri="{FF2B5EF4-FFF2-40B4-BE49-F238E27FC236}">
                <a16:creationId xmlns:a16="http://schemas.microsoft.com/office/drawing/2014/main" id="{42719D2E-4388-2AC5-5359-38986F2159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6043" y="1188021"/>
            <a:ext cx="306610" cy="291600"/>
          </a:xfrm>
          <a:prstGeom prst="rect">
            <a:avLst/>
          </a:prstGeom>
        </p:spPr>
      </p:pic>
      <p:pic>
        <p:nvPicPr>
          <p:cNvPr id="10" name="Graphic 9" descr="Harvey Balls 100% with solid fill">
            <a:extLst>
              <a:ext uri="{FF2B5EF4-FFF2-40B4-BE49-F238E27FC236}">
                <a16:creationId xmlns:a16="http://schemas.microsoft.com/office/drawing/2014/main" id="{F9483DD5-313D-F49F-30DE-60E0D16DA9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78979" y="1188739"/>
            <a:ext cx="305102" cy="290164"/>
          </a:xfrm>
          <a:prstGeom prst="rect">
            <a:avLst/>
          </a:prstGeom>
        </p:spPr>
      </p:pic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D396362-D683-79C0-4EE3-0D5321A4745B}"/>
              </a:ext>
            </a:extLst>
          </p:cNvPr>
          <p:cNvSpPr/>
          <p:nvPr/>
        </p:nvSpPr>
        <p:spPr>
          <a:xfrm flipH="1">
            <a:off x="1117558" y="1197454"/>
            <a:ext cx="786516" cy="27273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1D3FBB-1D8A-50A7-F7C1-87E4DF243C1C}"/>
              </a:ext>
            </a:extLst>
          </p:cNvPr>
          <p:cNvSpPr txBox="1"/>
          <p:nvPr/>
        </p:nvSpPr>
        <p:spPr>
          <a:xfrm>
            <a:off x="1540987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Hig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33BA13-E108-1F8D-F7F2-0BEB00AA630C}"/>
              </a:ext>
            </a:extLst>
          </p:cNvPr>
          <p:cNvSpPr txBox="1"/>
          <p:nvPr/>
        </p:nvSpPr>
        <p:spPr>
          <a:xfrm>
            <a:off x="256914" y="1437574"/>
            <a:ext cx="118326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Minimal</a:t>
            </a:r>
          </a:p>
        </p:txBody>
      </p:sp>
      <p:pic>
        <p:nvPicPr>
          <p:cNvPr id="36" name="Graphic 35" descr="Harvey Balls 100% with solid fill">
            <a:extLst>
              <a:ext uri="{FF2B5EF4-FFF2-40B4-BE49-F238E27FC236}">
                <a16:creationId xmlns:a16="http://schemas.microsoft.com/office/drawing/2014/main" id="{5D6E79D9-ACDB-7351-6440-ADFDE3A3FC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93239" y="5305950"/>
            <a:ext cx="482722" cy="48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9082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ove database logic to application ti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trength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Strength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Pre-requisites for u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How can this be scaled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Pre-requisit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31788" y="486156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917290" y="4881311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Scal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6000103" y="4873636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Scal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ase of use / Scalability</a:t>
            </a: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98246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ove database logic to application ti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FE4367-6700-6F5A-0FC5-1921429B63F1}"/>
              </a:ext>
            </a:extLst>
          </p:cNvPr>
          <p:cNvSpPr/>
          <p:nvPr/>
        </p:nvSpPr>
        <p:spPr>
          <a:xfrm>
            <a:off x="3077324" y="1105256"/>
            <a:ext cx="27473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de comple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C2DE0F-3579-F2E0-0F99-C7B20D0B3C6E}"/>
              </a:ext>
            </a:extLst>
          </p:cNvPr>
          <p:cNvSpPr/>
          <p:nvPr/>
        </p:nvSpPr>
        <p:spPr>
          <a:xfrm>
            <a:off x="8917290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Automated refacto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2E767-C38D-A01C-4C03-DC135FEDAEE8}"/>
              </a:ext>
            </a:extLst>
          </p:cNvPr>
          <p:cNvSpPr/>
          <p:nvPr/>
        </p:nvSpPr>
        <p:spPr>
          <a:xfrm>
            <a:off x="5959587" y="1133183"/>
            <a:ext cx="2790000" cy="574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Interactive cha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95C386-2B57-434A-7F3A-733BA0CE57FC}"/>
              </a:ext>
            </a:extLst>
          </p:cNvPr>
          <p:cNvSpPr txBox="1"/>
          <p:nvPr/>
        </p:nvSpPr>
        <p:spPr>
          <a:xfrm>
            <a:off x="8884550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0C79EE-DDA3-CA7A-4EF7-89C41830AEE3}"/>
              </a:ext>
            </a:extLst>
          </p:cNvPr>
          <p:cNvSpPr txBox="1"/>
          <p:nvPr/>
        </p:nvSpPr>
        <p:spPr>
          <a:xfrm>
            <a:off x="6000103" y="1850713"/>
            <a:ext cx="274948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Weakness</a:t>
            </a:r>
            <a:endParaRPr lang="en-GB" sz="12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Weaknes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Caution poi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DB4A5-2B2D-8390-1C2D-DE069ED29E60}"/>
              </a:ext>
            </a:extLst>
          </p:cNvPr>
          <p:cNvSpPr txBox="1"/>
          <p:nvPr/>
        </p:nvSpPr>
        <p:spPr>
          <a:xfrm>
            <a:off x="3031788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Enhancement area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7AA8DF-AEED-CC54-4E5E-9FD91A4CF43E}"/>
              </a:ext>
            </a:extLst>
          </p:cNvPr>
          <p:cNvSpPr txBox="1"/>
          <p:nvPr/>
        </p:nvSpPr>
        <p:spPr>
          <a:xfrm>
            <a:off x="8884550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53775-47FE-8A55-DF34-014689AABCE1}"/>
              </a:ext>
            </a:extLst>
          </p:cNvPr>
          <p:cNvSpPr txBox="1"/>
          <p:nvPr/>
        </p:nvSpPr>
        <p:spPr>
          <a:xfrm>
            <a:off x="6000103" y="3405018"/>
            <a:ext cx="27822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Cau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9A718-93FD-1916-8D68-9A27BB2F7DF4}"/>
              </a:ext>
            </a:extLst>
          </p:cNvPr>
          <p:cNvSpPr txBox="1"/>
          <p:nvPr/>
        </p:nvSpPr>
        <p:spPr>
          <a:xfrm>
            <a:off x="3077324" y="4880404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24C0C0-982E-2251-CA88-F9E798AAC61D}"/>
              </a:ext>
            </a:extLst>
          </p:cNvPr>
          <p:cNvSpPr txBox="1"/>
          <p:nvPr/>
        </p:nvSpPr>
        <p:spPr>
          <a:xfrm>
            <a:off x="8884550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7D35CD-A722-A216-348B-C81B90ACCEBB}"/>
              </a:ext>
            </a:extLst>
          </p:cNvPr>
          <p:cNvSpPr txBox="1"/>
          <p:nvPr/>
        </p:nvSpPr>
        <p:spPr>
          <a:xfrm>
            <a:off x="5959587" y="4880403"/>
            <a:ext cx="222339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b="1" dirty="0"/>
              <a:t>Enhancement required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4D189-2716-A3A7-A490-8B417082B68F}"/>
              </a:ext>
            </a:extLst>
          </p:cNvPr>
          <p:cNvGrpSpPr/>
          <p:nvPr/>
        </p:nvGrpSpPr>
        <p:grpSpPr>
          <a:xfrm>
            <a:off x="256914" y="1188021"/>
            <a:ext cx="2467336" cy="464997"/>
            <a:chOff x="9320481" y="6359531"/>
            <a:chExt cx="2467336" cy="464997"/>
          </a:xfrm>
        </p:grpSpPr>
        <p:pic>
          <p:nvPicPr>
            <p:cNvPr id="4" name="Graphic 3" descr="Harvey Balls 0% with solid fill">
              <a:extLst>
                <a:ext uri="{FF2B5EF4-FFF2-40B4-BE49-F238E27FC236}">
                  <a16:creationId xmlns:a16="http://schemas.microsoft.com/office/drawing/2014/main" id="{42719D2E-4388-2AC5-5359-38986F215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99610" y="6359531"/>
              <a:ext cx="306610" cy="291600"/>
            </a:xfrm>
            <a:prstGeom prst="rect">
              <a:avLst/>
            </a:prstGeom>
          </p:spPr>
        </p:pic>
        <p:pic>
          <p:nvPicPr>
            <p:cNvPr id="10" name="Graphic 9" descr="Harvey Balls 100% with solid fill">
              <a:extLst>
                <a:ext uri="{FF2B5EF4-FFF2-40B4-BE49-F238E27FC236}">
                  <a16:creationId xmlns:a16="http://schemas.microsoft.com/office/drawing/2014/main" id="{F9483DD5-313D-F49F-30DE-60E0D16DA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2546" y="6360249"/>
              <a:ext cx="305102" cy="290164"/>
            </a:xfrm>
            <a:prstGeom prst="rect">
              <a:avLst/>
            </a:prstGeom>
          </p:spPr>
        </p:pic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9D396362-D683-79C0-4EE3-0D5321A4745B}"/>
                </a:ext>
              </a:extLst>
            </p:cNvPr>
            <p:cNvSpPr/>
            <p:nvPr/>
          </p:nvSpPr>
          <p:spPr>
            <a:xfrm flipH="1">
              <a:off x="10181125" y="6368964"/>
              <a:ext cx="786516" cy="272734"/>
            </a:xfrm>
            <a:prstGeom prst="rt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1200">
                <a:solidFill>
                  <a:schemeClr val="bg2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A1D3FBB-1D8A-50A7-F7C1-87E4DF243C1C}"/>
                </a:ext>
              </a:extLst>
            </p:cNvPr>
            <p:cNvSpPr txBox="1"/>
            <p:nvPr/>
          </p:nvSpPr>
          <p:spPr>
            <a:xfrm>
              <a:off x="10604554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Eas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933BA13-E108-1F8D-F7F2-0BEB00AA630C}"/>
                </a:ext>
              </a:extLst>
            </p:cNvPr>
            <p:cNvSpPr txBox="1"/>
            <p:nvPr/>
          </p:nvSpPr>
          <p:spPr>
            <a:xfrm>
              <a:off x="9320481" y="6609084"/>
              <a:ext cx="118326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Difficul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F4FADE7-8F85-3115-1CFC-22C81360CFEE}"/>
              </a:ext>
            </a:extLst>
          </p:cNvPr>
          <p:cNvSpPr/>
          <p:nvPr/>
        </p:nvSpPr>
        <p:spPr>
          <a:xfrm>
            <a:off x="160134" y="6368963"/>
            <a:ext cx="2782225" cy="381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 err="1">
                <a:solidFill>
                  <a:sysClr val="windowText" lastClr="000000"/>
                </a:solidFill>
              </a:rPr>
              <a:t>Deployability</a:t>
            </a:r>
            <a:endParaRPr lang="en-GB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33" name="Graphic 32" descr="Harvey Balls 100% with solid fill">
            <a:extLst>
              <a:ext uri="{FF2B5EF4-FFF2-40B4-BE49-F238E27FC236}">
                <a16:creationId xmlns:a16="http://schemas.microsoft.com/office/drawing/2014/main" id="{056C1E93-4E39-D9E6-E7D6-9F2F2DF66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3239" y="6318111"/>
            <a:ext cx="482722" cy="482722"/>
          </a:xfrm>
          <a:prstGeom prst="rect">
            <a:avLst/>
          </a:prstGeom>
        </p:spPr>
      </p:pic>
      <p:pic>
        <p:nvPicPr>
          <p:cNvPr id="34" name="Graphic 33" descr="Harvey Balls 75% with solid fill">
            <a:extLst>
              <a:ext uri="{FF2B5EF4-FFF2-40B4-BE49-F238E27FC236}">
                <a16:creationId xmlns:a16="http://schemas.microsoft.com/office/drawing/2014/main" id="{19D8F566-0254-A0B8-1249-41B77640E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8798" y="6267261"/>
            <a:ext cx="482721" cy="482721"/>
          </a:xfrm>
          <a:prstGeom prst="rect">
            <a:avLst/>
          </a:prstGeom>
        </p:spPr>
      </p:pic>
      <p:pic>
        <p:nvPicPr>
          <p:cNvPr id="35" name="Graphic 34" descr="Harvey Balls 50% with solid fill">
            <a:extLst>
              <a:ext uri="{FF2B5EF4-FFF2-40B4-BE49-F238E27FC236}">
                <a16:creationId xmlns:a16="http://schemas.microsoft.com/office/drawing/2014/main" id="{391B8F4E-7B21-B555-811B-DDEAECC8E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4707" y="6168355"/>
            <a:ext cx="482721" cy="48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9662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Next Steps – Focus activitie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2431867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Retrofit multi-tenanc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A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A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wn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Tim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5B8803-33B0-03DF-383C-A68DCF768F48}"/>
              </a:ext>
            </a:extLst>
          </p:cNvPr>
          <p:cNvSpPr txBox="1"/>
          <p:nvPr/>
        </p:nvSpPr>
        <p:spPr>
          <a:xfrm>
            <a:off x="3031787" y="336650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wn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9B92EF-9B42-3A12-BF77-A0E8F556ACBB}"/>
              </a:ext>
            </a:extLst>
          </p:cNvPr>
          <p:cNvSpPr txBox="1"/>
          <p:nvPr/>
        </p:nvSpPr>
        <p:spPr>
          <a:xfrm>
            <a:off x="3031786" y="4881311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Timing</a:t>
            </a:r>
          </a:p>
        </p:txBody>
      </p:sp>
    </p:spTree>
    <p:extLst>
      <p:ext uri="{BB962C8B-B14F-4D97-AF65-F5344CB8AC3E}">
        <p14:creationId xmlns:p14="http://schemas.microsoft.com/office/powerpoint/2010/main" val="7738375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igration tool for client attach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A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A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wn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Tim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5B8803-33B0-03DF-383C-A68DCF768F48}"/>
              </a:ext>
            </a:extLst>
          </p:cNvPr>
          <p:cNvSpPr txBox="1"/>
          <p:nvPr/>
        </p:nvSpPr>
        <p:spPr>
          <a:xfrm>
            <a:off x="3031787" y="336650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wn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9B92EF-9B42-3A12-BF77-A0E8F556ACBB}"/>
              </a:ext>
            </a:extLst>
          </p:cNvPr>
          <p:cNvSpPr txBox="1"/>
          <p:nvPr/>
        </p:nvSpPr>
        <p:spPr>
          <a:xfrm>
            <a:off x="3031786" y="4881311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Timing</a:t>
            </a:r>
          </a:p>
        </p:txBody>
      </p:sp>
    </p:spTree>
    <p:extLst>
      <p:ext uri="{BB962C8B-B14F-4D97-AF65-F5344CB8AC3E}">
        <p14:creationId xmlns:p14="http://schemas.microsoft.com/office/powerpoint/2010/main" val="70505867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917E2E4-D409-09B9-38CF-D16CF3588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7E2E4-D409-09B9-38CF-D16CF35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95F009-F48C-2687-23C2-E2266D3C0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551" y="274259"/>
            <a:ext cx="10331617" cy="574675"/>
          </a:xfrm>
        </p:spPr>
        <p:txBody>
          <a:bodyPr vert="horz"/>
          <a:lstStyle/>
          <a:p>
            <a:r>
              <a:rPr lang="en-GB" sz="2800" dirty="0"/>
              <a:t>Move database logic to application ti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A7F773-A5E7-CA89-24E8-33CF12FD9380}"/>
              </a:ext>
            </a:extLst>
          </p:cNvPr>
          <p:cNvSpPr txBox="1"/>
          <p:nvPr/>
        </p:nvSpPr>
        <p:spPr>
          <a:xfrm>
            <a:off x="3031788" y="182278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A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3A49EB-8A15-7B56-AD7F-53FF74111627}"/>
              </a:ext>
            </a:extLst>
          </p:cNvPr>
          <p:cNvSpPr/>
          <p:nvPr/>
        </p:nvSpPr>
        <p:spPr>
          <a:xfrm>
            <a:off x="180474" y="182278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A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C2DCD-6139-FF12-8CA7-E2EE264A2E60}"/>
              </a:ext>
            </a:extLst>
          </p:cNvPr>
          <p:cNvSpPr/>
          <p:nvPr/>
        </p:nvSpPr>
        <p:spPr>
          <a:xfrm>
            <a:off x="160136" y="3366506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Own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A794E0-E4F5-2FD9-7574-D2989E3E3E90}"/>
              </a:ext>
            </a:extLst>
          </p:cNvPr>
          <p:cNvSpPr/>
          <p:nvPr/>
        </p:nvSpPr>
        <p:spPr>
          <a:xfrm>
            <a:off x="160135" y="4881311"/>
            <a:ext cx="2782225" cy="13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600" b="1" dirty="0">
                <a:solidFill>
                  <a:sysClr val="windowText" lastClr="000000"/>
                </a:solidFill>
              </a:rPr>
              <a:t>Tim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5B8803-33B0-03DF-383C-A68DCF768F48}"/>
              </a:ext>
            </a:extLst>
          </p:cNvPr>
          <p:cNvSpPr txBox="1"/>
          <p:nvPr/>
        </p:nvSpPr>
        <p:spPr>
          <a:xfrm>
            <a:off x="3031787" y="3366506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Own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9B92EF-9B42-3A12-BF77-A0E8F556ACBB}"/>
              </a:ext>
            </a:extLst>
          </p:cNvPr>
          <p:cNvSpPr txBox="1"/>
          <p:nvPr/>
        </p:nvSpPr>
        <p:spPr>
          <a:xfrm>
            <a:off x="3031786" y="4881311"/>
            <a:ext cx="87326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200" dirty="0"/>
              <a:t>Timing</a:t>
            </a:r>
          </a:p>
        </p:txBody>
      </p:sp>
    </p:spTree>
    <p:extLst>
      <p:ext uri="{BB962C8B-B14F-4D97-AF65-F5344CB8AC3E}">
        <p14:creationId xmlns:p14="http://schemas.microsoft.com/office/powerpoint/2010/main" val="892737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Maximise Impac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15806658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C6F7E5-A9A6-FFD6-5367-5A58307FDB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6F7E5-A9A6-FFD6-5367-5A58307FD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A3BE6-602E-B05E-2432-3329F5676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ider use cases &amp; rollou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2946744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E9601-CE94-B978-1823-95313A397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er use cases &amp; roll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25CD1D-41B1-FDDB-DA38-54BD7D05F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F42702-0FC8-8403-7D78-A5DFA2873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C6C90B-8073-003B-DE2C-EBBE1C2ADF5E}"/>
              </a:ext>
            </a:extLst>
          </p:cNvPr>
          <p:cNvSpPr txBox="1"/>
          <p:nvPr/>
        </p:nvSpPr>
        <p:spPr>
          <a:xfrm>
            <a:off x="2165350" y="3194050"/>
            <a:ext cx="2848537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GB" sz="1600" dirty="0"/>
              <a:t>Capture notes for further use</a:t>
            </a:r>
          </a:p>
        </p:txBody>
      </p:sp>
    </p:spTree>
    <p:extLst>
      <p:ext uri="{BB962C8B-B14F-4D97-AF65-F5344CB8AC3E}">
        <p14:creationId xmlns:p14="http://schemas.microsoft.com/office/powerpoint/2010/main" val="4173235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4ZRlsP4lKqC45g6v9MXsFAAAAAAADAAAAAAADAAAAAwADAAAAAAD///////8DAAAAAAD///////8DAAEA////////BAAAAAMAEAALleHLOheEyUW8PxN55Tfhq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C4ZRlsP4lKqC45g6v9MXsDRGF0YQAbAAAABExpbmtlZFNoYXBlRGF0YQAFAAAAAAACTmFtZQAZAAAATGlua2VkU2hhcGVzRGF0YVByb3BlcnR5ABBWZXJzaW9uAAAAAAAJTGFzdFdyaXRlAEsMyQyHAQAAAAEA/////8YAxgAAAAVfaWQAEAAAAASV4cs6F4TJRbw/E3nlN+GpA0RhdGEAUwAAAAhQcmVzZW50YXRpb25TY2FubmVkRm9yTGlua2VkU2hhcGVzAAECTnVtYmVyRm9ybWF0U2VwYXJhdG9yTW9kZQAKAAAAQXV0b21hdGljAAACTmFtZQAkAAAATGlua2VkU2hhcGVQcmVzZW50YXRpb25TZXR0aW5nc0RhdGEAEFZlcnNpb24AAAAAAAlMYXN0V3JpdGUApwzJD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1435153531130"/>
  <p:tag name="EMPOWERCHARTSPROPERTIES_B_LENGTH" val="24576"/>
  <p:tag name="MIO_PRESENTATION_LANGUAGE" val="205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ae7bc02a-f0a8-470c-b9ec-b784df9df9e1"/>
  <p:tag name="MIO_UPDATE" val="True"/>
  <p:tag name="MIO_DBID" val="B8FCB12D-AF03-49EB-9F79-BB019BE99E1E"/>
  <p:tag name="MIO_OBJECTNAME" val="Generic Print 16x9"/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True"/>
  <p:tag name="MIO_NUMBER_OF_VALID_LAYOUTS" val="11"/>
  <p:tag name="MIO_VERSION" val="03.11.2020 07:07:06"/>
  <p:tag name="MIO_LASTDOWNLOADED" val="23.03.2023 06:45:16.063"/>
  <p:tag name="MIO_CDID" val="3d73c330-441c-4d13-9538-966376f85e6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ae7bc02a-f0a8-470c-b9ec-b784df9df9e1"/>
  <p:tag name="MIO_UPDATE" val="True"/>
  <p:tag name="MIO_DBID" val="B8FCB12D-AF03-49EB-9F79-BB019BE99E1E"/>
  <p:tag name="MIO_OBJECTNAME" val="Generic Print 16x9"/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True"/>
  <p:tag name="MIO_NUMBER_OF_VALID_LAYOUTS" val="11"/>
  <p:tag name="MIO_VERSION" val="03.11.2020 07:07:06"/>
  <p:tag name="MIO_LASTDOWNLOADED" val="23.03.2023 06:45:16.063"/>
  <p:tag name="MIO_CDID" val="3d73c330-441c-4d13-9538-966376f85e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ae7bc02a-f0a8-470c-b9ec-b784df9df9e1"/>
  <p:tag name="MIO_UPDATE" val="True"/>
  <p:tag name="MIO_DBID" val="B8FCB12D-AF03-49EB-9F79-BB019BE99E1E"/>
  <p:tag name="MIO_OBJECTNAME" val="Generic Print 16x9"/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True"/>
  <p:tag name="MIO_NUMBER_OF_VALID_LAYOUTS" val="11"/>
  <p:tag name="MIO_VERSION" val="03.11.2020 07:07:06"/>
  <p:tag name="MIO_LASTDOWNLOADED" val="23.03.2023 06:45:16.063"/>
  <p:tag name="MIO_CDID" val="3d73c330-441c-4d13-9538-966376f85e6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HG Rebrand">
  <a:themeElements>
    <a:clrScheme name="HG Capital Rebrand">
      <a:dk1>
        <a:srgbClr val="333D49"/>
      </a:dk1>
      <a:lt1>
        <a:srgbClr val="FEFEFE"/>
      </a:lt1>
      <a:dk2>
        <a:srgbClr val="010101"/>
      </a:dk2>
      <a:lt2>
        <a:srgbClr val="C8C8C8"/>
      </a:lt2>
      <a:accent1>
        <a:srgbClr val="F8495E"/>
      </a:accent1>
      <a:accent2>
        <a:srgbClr val="5B67D5"/>
      </a:accent2>
      <a:accent3>
        <a:srgbClr val="171B41"/>
      </a:accent3>
      <a:accent4>
        <a:srgbClr val="1A1E22"/>
      </a:accent4>
      <a:accent5>
        <a:srgbClr val="333D49"/>
      </a:accent5>
      <a:accent6>
        <a:srgbClr val="F0EEE8"/>
      </a:accent6>
      <a:hlink>
        <a:srgbClr val="F8495E"/>
      </a:hlink>
      <a:folHlink>
        <a:srgbClr val="5B67D5"/>
      </a:folHlink>
    </a:clrScheme>
    <a:fontScheme name="Custom 62">
      <a:majorFont>
        <a:latin typeface="Avenir Next LT Pro Demi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>
        <a:noAutofit/>
      </a:bodyPr>
      <a:lstStyle>
        <a:defPPr algn="ctr">
          <a:defRPr sz="1600" dirty="0">
            <a:solidFill>
              <a:schemeClr val="bg2">
                <a:lumMod val="20000"/>
                <a:lumOff val="8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600" dirty="0"/>
        </a:defPPr>
      </a:lstStyle>
    </a:txDef>
  </a:objectDefaults>
  <a:extraClrSchemeLst/>
  <a:custClrLst>
    <a:custClr name="Custom Color 1">
      <a:srgbClr val="F74A5E"/>
    </a:custClr>
    <a:custClr name="Custom Color 2">
      <a:srgbClr val="BA5982"/>
    </a:custClr>
    <a:custClr name="Custom Color 3">
      <a:srgbClr val="915EA1"/>
    </a:custClr>
    <a:custClr name="Custom Color 4">
      <a:srgbClr val="7561B8"/>
    </a:custClr>
    <a:custClr name="Custom Color 5">
      <a:srgbClr val="6973C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6973CF"/>
    </a:custClr>
    <a:custClr name="Custom Color 12">
      <a:srgbClr val="7D87D1"/>
    </a:custClr>
    <a:custClr name="Custom Color 13">
      <a:srgbClr val="919CD6"/>
    </a:custClr>
    <a:custClr name="Custom Color 14">
      <a:srgbClr val="A6B0D9"/>
    </a:custClr>
    <a:custClr name="Custom Color 15">
      <a:srgbClr val="BDC7DB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E05C6E"/>
    </a:custClr>
    <a:custClr name="Custom Color 22">
      <a:srgbClr val="D97887"/>
    </a:custClr>
    <a:custClr name="Custom Color 23">
      <a:srgbClr val="D19EAB"/>
    </a:custClr>
    <a:custClr name="Custom Color 24">
      <a:srgbClr val="C7C2D1"/>
    </a:custClr>
    <a:custClr name="Custom Color 25">
      <a:srgbClr val="BDC7DB"/>
    </a:custClr>
  </a:custClrLst>
  <a:extLst>
    <a:ext uri="{05A4C25C-085E-4340-85A3-A5531E510DB2}">
      <thm15:themeFamily xmlns:thm15="http://schemas.microsoft.com/office/thememl/2012/main" name="HG Rebrand" id="{ECCD9592-98AF-4EB7-BCD5-C51B0661A930}" vid="{DBEC7A35-1D1B-4C54-B23E-3E686FB614F5}"/>
    </a:ext>
  </a:extLst>
</a:theme>
</file>

<file path=ppt/theme/theme2.xml><?xml version="1.0" encoding="utf-8"?>
<a:theme xmlns:a="http://schemas.openxmlformats.org/drawingml/2006/main" name="1_HG Rebrand">
  <a:themeElements>
    <a:clrScheme name="HG Capital Rebrand">
      <a:dk1>
        <a:srgbClr val="333D49"/>
      </a:dk1>
      <a:lt1>
        <a:srgbClr val="FEFEFE"/>
      </a:lt1>
      <a:dk2>
        <a:srgbClr val="010101"/>
      </a:dk2>
      <a:lt2>
        <a:srgbClr val="C8C8C8"/>
      </a:lt2>
      <a:accent1>
        <a:srgbClr val="F8495E"/>
      </a:accent1>
      <a:accent2>
        <a:srgbClr val="5B67D5"/>
      </a:accent2>
      <a:accent3>
        <a:srgbClr val="171B41"/>
      </a:accent3>
      <a:accent4>
        <a:srgbClr val="1A1E22"/>
      </a:accent4>
      <a:accent5>
        <a:srgbClr val="333D49"/>
      </a:accent5>
      <a:accent6>
        <a:srgbClr val="F0EEE8"/>
      </a:accent6>
      <a:hlink>
        <a:srgbClr val="F8495E"/>
      </a:hlink>
      <a:folHlink>
        <a:srgbClr val="5B67D5"/>
      </a:folHlink>
    </a:clrScheme>
    <a:fontScheme name="Custom 62">
      <a:majorFont>
        <a:latin typeface="Avenir Next LT Pro Demi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>
        <a:noAutofit/>
      </a:bodyPr>
      <a:lstStyle>
        <a:defPPr algn="ctr">
          <a:defRPr sz="1600" dirty="0">
            <a:solidFill>
              <a:schemeClr val="bg2">
                <a:lumMod val="20000"/>
                <a:lumOff val="8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600" dirty="0"/>
        </a:defPPr>
      </a:lstStyle>
    </a:txDef>
  </a:objectDefaults>
  <a:extraClrSchemeLst/>
  <a:custClrLst>
    <a:custClr name="Custom Color 1">
      <a:srgbClr val="F74A5E"/>
    </a:custClr>
    <a:custClr name="Custom Color 2">
      <a:srgbClr val="BA5982"/>
    </a:custClr>
    <a:custClr name="Custom Color 3">
      <a:srgbClr val="915EA1"/>
    </a:custClr>
    <a:custClr name="Custom Color 4">
      <a:srgbClr val="7561B8"/>
    </a:custClr>
    <a:custClr name="Custom Color 5">
      <a:srgbClr val="6973C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6973CF"/>
    </a:custClr>
    <a:custClr name="Custom Color 12">
      <a:srgbClr val="7D87D1"/>
    </a:custClr>
    <a:custClr name="Custom Color 13">
      <a:srgbClr val="919CD6"/>
    </a:custClr>
    <a:custClr name="Custom Color 14">
      <a:srgbClr val="A6B0D9"/>
    </a:custClr>
    <a:custClr name="Custom Color 15">
      <a:srgbClr val="BDC7DB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E05C6E"/>
    </a:custClr>
    <a:custClr name="Custom Color 22">
      <a:srgbClr val="D97887"/>
    </a:custClr>
    <a:custClr name="Custom Color 23">
      <a:srgbClr val="D19EAB"/>
    </a:custClr>
    <a:custClr name="Custom Color 24">
      <a:srgbClr val="C7C2D1"/>
    </a:custClr>
    <a:custClr name="Custom Color 25">
      <a:srgbClr val="BDC7DB"/>
    </a:custClr>
  </a:custClrLst>
  <a:extLst>
    <a:ext uri="{05A4C25C-085E-4340-85A3-A5531E510DB2}">
      <thm15:themeFamily xmlns:thm15="http://schemas.microsoft.com/office/thememl/2012/main" name="HG Rebrand" id="{ECCD9592-98AF-4EB7-BCD5-C51B0661A930}" vid="{DBEC7A35-1D1B-4C54-B23E-3E686FB614F5}"/>
    </a:ext>
  </a:extLst>
</a:theme>
</file>

<file path=ppt/theme/theme3.xml><?xml version="1.0" encoding="utf-8"?>
<a:theme xmlns:a="http://schemas.openxmlformats.org/drawingml/2006/main" name="2_HG Rebrand">
  <a:themeElements>
    <a:clrScheme name="HG Capital Rebrand">
      <a:dk1>
        <a:srgbClr val="333D49"/>
      </a:dk1>
      <a:lt1>
        <a:srgbClr val="FEFEFE"/>
      </a:lt1>
      <a:dk2>
        <a:srgbClr val="010101"/>
      </a:dk2>
      <a:lt2>
        <a:srgbClr val="C8C8C8"/>
      </a:lt2>
      <a:accent1>
        <a:srgbClr val="F8495E"/>
      </a:accent1>
      <a:accent2>
        <a:srgbClr val="5B67D5"/>
      </a:accent2>
      <a:accent3>
        <a:srgbClr val="171B41"/>
      </a:accent3>
      <a:accent4>
        <a:srgbClr val="1A1E22"/>
      </a:accent4>
      <a:accent5>
        <a:srgbClr val="333D49"/>
      </a:accent5>
      <a:accent6>
        <a:srgbClr val="F0EEE8"/>
      </a:accent6>
      <a:hlink>
        <a:srgbClr val="F8495E"/>
      </a:hlink>
      <a:folHlink>
        <a:srgbClr val="5B67D5"/>
      </a:folHlink>
    </a:clrScheme>
    <a:fontScheme name="Custom 62">
      <a:majorFont>
        <a:latin typeface="Avenir Next LT Pro Demi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>
        <a:noAutofit/>
      </a:bodyPr>
      <a:lstStyle>
        <a:defPPr algn="ctr">
          <a:defRPr sz="1600" dirty="0">
            <a:solidFill>
              <a:schemeClr val="bg2">
                <a:lumMod val="20000"/>
                <a:lumOff val="8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600" dirty="0"/>
        </a:defPPr>
      </a:lstStyle>
    </a:txDef>
  </a:objectDefaults>
  <a:extraClrSchemeLst/>
  <a:custClrLst>
    <a:custClr name="Custom Color 1">
      <a:srgbClr val="F74A5E"/>
    </a:custClr>
    <a:custClr name="Custom Color 2">
      <a:srgbClr val="BA5982"/>
    </a:custClr>
    <a:custClr name="Custom Color 3">
      <a:srgbClr val="915EA1"/>
    </a:custClr>
    <a:custClr name="Custom Color 4">
      <a:srgbClr val="7561B8"/>
    </a:custClr>
    <a:custClr name="Custom Color 5">
      <a:srgbClr val="6973C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11">
      <a:srgbClr val="6973CF"/>
    </a:custClr>
    <a:custClr name="Custom Color 12">
      <a:srgbClr val="7D87D1"/>
    </a:custClr>
    <a:custClr name="Custom Color 13">
      <a:srgbClr val="919CD6"/>
    </a:custClr>
    <a:custClr name="Custom Color 14">
      <a:srgbClr val="A6B0D9"/>
    </a:custClr>
    <a:custClr name="Custom Color 15">
      <a:srgbClr val="BDC7DB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Custom Color 21">
      <a:srgbClr val="E05C6E"/>
    </a:custClr>
    <a:custClr name="Custom Color 22">
      <a:srgbClr val="D97887"/>
    </a:custClr>
    <a:custClr name="Custom Color 23">
      <a:srgbClr val="D19EAB"/>
    </a:custClr>
    <a:custClr name="Custom Color 24">
      <a:srgbClr val="C7C2D1"/>
    </a:custClr>
    <a:custClr name="Custom Color 25">
      <a:srgbClr val="BDC7DB"/>
    </a:custClr>
  </a:custClrLst>
  <a:extLst>
    <a:ext uri="{05A4C25C-085E-4340-85A3-A5531E510DB2}">
      <thm15:themeFamily xmlns:thm15="http://schemas.microsoft.com/office/thememl/2012/main" name="HG Rebrand" id="{ECCD9592-98AF-4EB7-BCD5-C51B0661A930}" vid="{DBEC7A35-1D1B-4C54-B23E-3E686FB614F5}"/>
    </a:ext>
  </a:extLst>
</a:theme>
</file>

<file path=ppt/theme/theme4.xml><?xml version="1.0" encoding="utf-8"?>
<a:theme xmlns:a="http://schemas.openxmlformats.org/drawingml/2006/main" name="Office Theme">
  <a:themeElements>
    <a:clrScheme name="Ideagen">
      <a:dk1>
        <a:srgbClr val="304050"/>
      </a:dk1>
      <a:lt1>
        <a:srgbClr val="FFFFFF"/>
      </a:lt1>
      <a:dk2>
        <a:srgbClr val="304050"/>
      </a:dk2>
      <a:lt2>
        <a:srgbClr val="E7E6E6"/>
      </a:lt2>
      <a:accent1>
        <a:srgbClr val="039DB7"/>
      </a:accent1>
      <a:accent2>
        <a:srgbClr val="45BBCE"/>
      </a:accent2>
      <a:accent3>
        <a:srgbClr val="E2408E"/>
      </a:accent3>
      <a:accent4>
        <a:srgbClr val="A4A6A6"/>
      </a:accent4>
      <a:accent5>
        <a:srgbClr val="D9D9D9"/>
      </a:accent5>
      <a:accent6>
        <a:srgbClr val="657788"/>
      </a:accent6>
      <a:hlink>
        <a:srgbClr val="FFFFFF"/>
      </a:hlink>
      <a:folHlink>
        <a:srgbClr val="45BBCE"/>
      </a:folHlink>
    </a:clrScheme>
    <a:fontScheme name="Ideagen Gilroy">
      <a:majorFont>
        <a:latin typeface="Gilroy Bold"/>
        <a:ea typeface=""/>
        <a:cs typeface=""/>
      </a:majorFont>
      <a:minorFont>
        <a:latin typeface="Gilro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Design - COMPRESSED FONT FIX.potx" id="{59F002F8-037E-4A5D-8128-5EF94B4A3D51}" vid="{35B3838D-3A54-47B6-A943-BD4F5E825FAF}"/>
    </a:ext>
  </a:extLst>
</a:theme>
</file>

<file path=ppt/theme/theme5.xml><?xml version="1.0" encoding="utf-8"?>
<a:theme xmlns:a="http://schemas.openxmlformats.org/drawingml/2006/main" name="1_Office Theme">
  <a:themeElements>
    <a:clrScheme name="Ideagen">
      <a:dk1>
        <a:srgbClr val="304050"/>
      </a:dk1>
      <a:lt1>
        <a:srgbClr val="FFFFFF"/>
      </a:lt1>
      <a:dk2>
        <a:srgbClr val="304050"/>
      </a:dk2>
      <a:lt2>
        <a:srgbClr val="E7E6E6"/>
      </a:lt2>
      <a:accent1>
        <a:srgbClr val="039DB7"/>
      </a:accent1>
      <a:accent2>
        <a:srgbClr val="45BBCE"/>
      </a:accent2>
      <a:accent3>
        <a:srgbClr val="E2408E"/>
      </a:accent3>
      <a:accent4>
        <a:srgbClr val="A4A6A6"/>
      </a:accent4>
      <a:accent5>
        <a:srgbClr val="D9D9D9"/>
      </a:accent5>
      <a:accent6>
        <a:srgbClr val="657788"/>
      </a:accent6>
      <a:hlink>
        <a:srgbClr val="FFFFFF"/>
      </a:hlink>
      <a:folHlink>
        <a:srgbClr val="45BBCE"/>
      </a:folHlink>
    </a:clrScheme>
    <a:fontScheme name="Ideagen Gilroy">
      <a:majorFont>
        <a:latin typeface="Gilroy Bold"/>
        <a:ea typeface=""/>
        <a:cs typeface=""/>
      </a:majorFont>
      <a:minorFont>
        <a:latin typeface="Gilro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Design - COMPRESSED FONT FIX.potx" id="{59F002F8-037E-4A5D-8128-5EF94B4A3D51}" vid="{35B3838D-3A54-47B6-A943-BD4F5E825FAF}"/>
    </a:ext>
  </a:extLst>
</a:theme>
</file>

<file path=ppt/theme/theme6.xml><?xml version="1.0" encoding="utf-8"?>
<a:theme xmlns:a="http://schemas.openxmlformats.org/drawingml/2006/main" name="Office Theme">
  <a:themeElements>
    <a:clrScheme name="Right Aligned Universal">
      <a:dk1>
        <a:srgbClr val="010101"/>
      </a:dk1>
      <a:lt1>
        <a:srgbClr val="FEFEFE"/>
      </a:lt1>
      <a:dk2>
        <a:srgbClr val="A0A0A0"/>
      </a:dk2>
      <a:lt2>
        <a:srgbClr val="C8C8C8"/>
      </a:lt2>
      <a:accent1>
        <a:srgbClr val="236D6F"/>
      </a:accent1>
      <a:accent2>
        <a:srgbClr val="235580"/>
      </a:accent2>
      <a:accent3>
        <a:srgbClr val="9F3C19"/>
      </a:accent3>
      <a:accent4>
        <a:srgbClr val="777F2D"/>
      </a:accent4>
      <a:accent5>
        <a:srgbClr val="5A5247"/>
      </a:accent5>
      <a:accent6>
        <a:srgbClr val="A6393E"/>
      </a:accent6>
      <a:hlink>
        <a:srgbClr val="123637"/>
      </a:hlink>
      <a:folHlink>
        <a:srgbClr val="4EA89D"/>
      </a:folHlink>
    </a:clrScheme>
    <a:fontScheme name="Right Aligned Universal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Right Aligned Universal">
      <a:dk1>
        <a:srgbClr val="010101"/>
      </a:dk1>
      <a:lt1>
        <a:srgbClr val="FEFEFE"/>
      </a:lt1>
      <a:dk2>
        <a:srgbClr val="A0A0A0"/>
      </a:dk2>
      <a:lt2>
        <a:srgbClr val="C8C8C8"/>
      </a:lt2>
      <a:accent1>
        <a:srgbClr val="236D6F"/>
      </a:accent1>
      <a:accent2>
        <a:srgbClr val="235580"/>
      </a:accent2>
      <a:accent3>
        <a:srgbClr val="9F3C19"/>
      </a:accent3>
      <a:accent4>
        <a:srgbClr val="777F2D"/>
      </a:accent4>
      <a:accent5>
        <a:srgbClr val="5A5247"/>
      </a:accent5>
      <a:accent6>
        <a:srgbClr val="A6393E"/>
      </a:accent6>
      <a:hlink>
        <a:srgbClr val="123637"/>
      </a:hlink>
      <a:folHlink>
        <a:srgbClr val="4EA89D"/>
      </a:folHlink>
    </a:clrScheme>
    <a:fontScheme name="Right Aligned Universal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E4743A7735CB47AE7AB53377A1E5F4" ma:contentTypeVersion="18" ma:contentTypeDescription="Create a new document." ma:contentTypeScope="" ma:versionID="e4fd6953fc762fd6f5a2c612fc5fadf3">
  <xsd:schema xmlns:xsd="http://www.w3.org/2001/XMLSchema" xmlns:xs="http://www.w3.org/2001/XMLSchema" xmlns:p="http://schemas.microsoft.com/office/2006/metadata/properties" xmlns:ns2="9aaca225-927c-41fe-9dad-ac871bf0763d" xmlns:ns3="92c1b660-8692-475a-b7e6-b068a7906e11" xmlns:ns4="43543729-a247-474c-bf19-ac4eff48a205" targetNamespace="http://schemas.microsoft.com/office/2006/metadata/properties" ma:root="true" ma:fieldsID="6d7e5f5e14524a693b275ccdcdd4b1cd" ns2:_="" ns3:_="" ns4:_="">
    <xsd:import namespace="9aaca225-927c-41fe-9dad-ac871bf0763d"/>
    <xsd:import namespace="92c1b660-8692-475a-b7e6-b068a7906e11"/>
    <xsd:import namespace="43543729-a247-474c-bf19-ac4eff48a2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ArtefactPurpos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aca225-927c-41fe-9dad-ac871bf076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43a7eb6-d707-4bc3-b22c-0add5894f0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ArtefactPurpose" ma:index="24" nillable="true" ma:displayName="Artefact Purpose" ma:format="Dropdown" ma:internalName="ArtefactPurpose">
      <xsd:simpleType>
        <xsd:restriction base="dms:Text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c1b660-8692-475a-b7e6-b068a7906e1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543729-a247-474c-bf19-ac4eff48a20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317ae2a-d7e9-4974-ac0f-19615e11d92c}" ma:internalName="TaxCatchAll" ma:showField="CatchAllData" ma:web="92c1b660-8692-475a-b7e6-b068a7906e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],"slideId":"638223459452255529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18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3543729-a247-474c-bf19-ac4eff48a205" xsi:nil="true"/>
    <lcf76f155ced4ddcb4097134ff3c332f xmlns="9aaca225-927c-41fe-9dad-ac871bf0763d">
      <Terms xmlns="http://schemas.microsoft.com/office/infopath/2007/PartnerControls"/>
    </lcf76f155ced4ddcb4097134ff3c332f>
    <ArtefactPurpose xmlns="9aaca225-927c-41fe-9dad-ac871bf0763d" xsi:nil="true"/>
    <SharedWithUsers xmlns="92c1b660-8692-475a-b7e6-b068a7906e11">
      <UserInfo>
        <DisplayName>Talin Bingham</DisplayName>
        <AccountId>866</AccountId>
        <AccountType/>
      </UserInfo>
      <UserInfo>
        <DisplayName>Stuart Pearce</DisplayName>
        <AccountId>83</AccountId>
        <AccountType/>
      </UserInfo>
      <UserInfo>
        <DisplayName>Jason Richards</DisplayName>
        <AccountId>82</AccountId>
        <AccountType/>
      </UserInfo>
      <UserInfo>
        <DisplayName>Christopher Kindt</DisplayName>
        <AccountId>72</AccountId>
        <AccountType/>
      </UserInfo>
      <UserInfo>
        <DisplayName>Amr Ellabban</DisplayName>
        <AccountId>68</AccountId>
        <AccountType/>
      </UserInfo>
      <UserInfo>
        <DisplayName>Lloyd Hilton</DisplayName>
        <AccountId>146</AccountId>
        <AccountType/>
      </UserInfo>
      <UserInfo>
        <DisplayName>Tim Harrison</DisplayName>
        <AccountId>145</AccountId>
        <AccountType/>
      </UserInfo>
      <UserInfo>
        <DisplayName>Jian Lim</DisplayName>
        <AccountId>538</AccountId>
        <AccountType/>
      </UserInfo>
      <UserInfo>
        <DisplayName>Ahsan Alvi</DisplayName>
        <AccountId>1061</AccountId>
        <AccountType/>
      </UserInfo>
      <UserInfo>
        <DisplayName>Eamon Rivers</DisplayName>
        <AccountId>69</AccountId>
        <AccountType/>
      </UserInfo>
      <UserInfo>
        <DisplayName>Shiv Pabari</DisplayName>
        <AccountId>151</AccountId>
        <AccountType/>
      </UserInfo>
      <UserInfo>
        <DisplayName>Simon Comfort</DisplayName>
        <AccountId>153</AccountId>
        <AccountType/>
      </UserInfo>
      <UserInfo>
        <DisplayName>Laura Fletcher</DisplayName>
        <AccountId>793</AccountId>
        <AccountType/>
      </UserInfo>
      <UserInfo>
        <DisplayName>Ricarda Neukam</DisplayName>
        <AccountId>1472</AccountId>
        <AccountType/>
      </UserInfo>
      <UserInfo>
        <DisplayName>Sophie de Kok</DisplayName>
        <AccountId>219</AccountId>
        <AccountType/>
      </UserInfo>
      <UserInfo>
        <DisplayName>Alan Ince</DisplayName>
        <AccountId>1347</AccountId>
        <AccountType/>
      </UserInfo>
      <UserInfo>
        <DisplayName>Alexi Carydias</DisplayName>
        <AccountId>67</AccountId>
        <AccountType/>
      </UserInfo>
      <UserInfo>
        <DisplayName>Dita Hendersone</DisplayName>
        <AccountId>1114</AccountId>
        <AccountType/>
      </UserInfo>
      <UserInfo>
        <DisplayName>Richard Poole</DisplayName>
        <AccountId>65</AccountId>
        <AccountType/>
      </UserInfo>
      <UserInfo>
        <DisplayName>Srivaths Swaminathan</DisplayName>
        <AccountId>1905</AccountId>
        <AccountType/>
      </UserInfo>
    </SharedWithUsers>
  </documentManagement>
</p:properties>
</file>

<file path=customXml/item20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TemplateConfiguration><![CDATA[{"elementsMetadata":[],"transformationConfigurations":[],"templateName":"Templafy Master","templateDescription":"","enableDocumentContentUpdater":false,"version":"2.0"}]]></TemplafyTemplateConfiguration>
</file>

<file path=customXml/item5.xml><?xml version="1.0" encoding="utf-8"?>
<TemplafyFormConfiguration><![CDATA[{"formFields":[],"formDataEntries":[]}]]></Templafy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8223459450694294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638223459450783404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691BB8FB-CAB6-4C62-828C-8E0B0DCAAE94}">
  <ds:schemaRefs>
    <ds:schemaRef ds:uri="43543729-a247-474c-bf19-ac4eff48a205"/>
    <ds:schemaRef ds:uri="92c1b660-8692-475a-b7e6-b068a7906e11"/>
    <ds:schemaRef ds:uri="9aaca225-927c-41fe-9dad-ac871bf076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32C4614E-7368-4F3E-BEFE-A7F8251F5499}">
  <ds:schemaRefs/>
</ds:datastoreItem>
</file>

<file path=customXml/itemProps11.xml><?xml version="1.0" encoding="utf-8"?>
<ds:datastoreItem xmlns:ds="http://schemas.openxmlformats.org/officeDocument/2006/customXml" ds:itemID="{794A57AF-6309-4A89-BFB6-5158191D1EF3}">
  <ds:schemaRefs/>
</ds:datastoreItem>
</file>

<file path=customXml/itemProps12.xml><?xml version="1.0" encoding="utf-8"?>
<ds:datastoreItem xmlns:ds="http://schemas.openxmlformats.org/officeDocument/2006/customXml" ds:itemID="{4B43B12C-1F16-45A5-97B6-94B8B8EF6F57}">
  <ds:schemaRefs/>
</ds:datastoreItem>
</file>

<file path=customXml/itemProps13.xml><?xml version="1.0" encoding="utf-8"?>
<ds:datastoreItem xmlns:ds="http://schemas.openxmlformats.org/officeDocument/2006/customXml" ds:itemID="{3B2735BD-E6DA-4037-BDB5-E09D5162FA6F}">
  <ds:schemaRefs/>
</ds:datastoreItem>
</file>

<file path=customXml/itemProps14.xml><?xml version="1.0" encoding="utf-8"?>
<ds:datastoreItem xmlns:ds="http://schemas.openxmlformats.org/officeDocument/2006/customXml" ds:itemID="{AD241F04-0EB9-4D7C-8F4C-D87C822B9E55}">
  <ds:schemaRefs/>
</ds:datastoreItem>
</file>

<file path=customXml/itemProps15.xml><?xml version="1.0" encoding="utf-8"?>
<ds:datastoreItem xmlns:ds="http://schemas.openxmlformats.org/officeDocument/2006/customXml" ds:itemID="{A966DA09-9EDC-4342-8553-3816972227C6}">
  <ds:schemaRefs/>
</ds:datastoreItem>
</file>

<file path=customXml/itemProps16.xml><?xml version="1.0" encoding="utf-8"?>
<ds:datastoreItem xmlns:ds="http://schemas.openxmlformats.org/officeDocument/2006/customXml" ds:itemID="{8EDEC7B3-4AD5-4229-AD5F-57C3F49F1EC3}">
  <ds:schemaRefs/>
</ds:datastoreItem>
</file>

<file path=customXml/itemProps17.xml><?xml version="1.0" encoding="utf-8"?>
<ds:datastoreItem xmlns:ds="http://schemas.openxmlformats.org/officeDocument/2006/customXml" ds:itemID="{A429E801-D838-44A3-A67A-1CE96BAD558E}">
  <ds:schemaRefs/>
</ds:datastoreItem>
</file>

<file path=customXml/itemProps18.xml><?xml version="1.0" encoding="utf-8"?>
<ds:datastoreItem xmlns:ds="http://schemas.openxmlformats.org/officeDocument/2006/customXml" ds:itemID="{40732E5C-46EF-41EB-A49C-D7442DA872A8}">
  <ds:schemaRefs/>
</ds:datastoreItem>
</file>

<file path=customXml/itemProps19.xml><?xml version="1.0" encoding="utf-8"?>
<ds:datastoreItem xmlns:ds="http://schemas.openxmlformats.org/officeDocument/2006/customXml" ds:itemID="{D71610DF-6297-497B-AB91-74A9EFA04BBB}">
  <ds:schemaRefs/>
</ds:datastoreItem>
</file>

<file path=customXml/itemProps2.xml><?xml version="1.0" encoding="utf-8"?>
<ds:datastoreItem xmlns:ds="http://schemas.openxmlformats.org/officeDocument/2006/customXml" ds:itemID="{E3F70DCC-0025-4C86-8904-1EB56217E392}">
  <ds:schemaRefs>
    <ds:schemaRef ds:uri="43543729-a247-474c-bf19-ac4eff48a205"/>
    <ds:schemaRef ds:uri="92c1b660-8692-475a-b7e6-b068a7906e11"/>
    <ds:schemaRef ds:uri="9aaca225-927c-41fe-9dad-ac871bf0763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.xml><?xml version="1.0" encoding="utf-8"?>
<ds:datastoreItem xmlns:ds="http://schemas.openxmlformats.org/officeDocument/2006/customXml" ds:itemID="{99B047EF-C7C1-4C7E-9593-B4013A27DDFF}">
  <ds:schemaRefs/>
</ds:datastoreItem>
</file>

<file path=customXml/itemProps21.xml><?xml version="1.0" encoding="utf-8"?>
<ds:datastoreItem xmlns:ds="http://schemas.openxmlformats.org/officeDocument/2006/customXml" ds:itemID="{7C34DBCB-C5F5-42E0-9E09-5BFF576647CE}">
  <ds:schemaRefs/>
</ds:datastoreItem>
</file>

<file path=customXml/itemProps22.xml><?xml version="1.0" encoding="utf-8"?>
<ds:datastoreItem xmlns:ds="http://schemas.openxmlformats.org/officeDocument/2006/customXml" ds:itemID="{73E69DB9-0908-415A-B6D0-35C3D7E7DCC8}">
  <ds:schemaRefs/>
</ds:datastoreItem>
</file>

<file path=customXml/itemProps23.xml><?xml version="1.0" encoding="utf-8"?>
<ds:datastoreItem xmlns:ds="http://schemas.openxmlformats.org/officeDocument/2006/customXml" ds:itemID="{76B7A5E2-2051-43C3-8225-D70826877774}">
  <ds:schemaRefs/>
</ds:datastoreItem>
</file>

<file path=customXml/itemProps24.xml><?xml version="1.0" encoding="utf-8"?>
<ds:datastoreItem xmlns:ds="http://schemas.openxmlformats.org/officeDocument/2006/customXml" ds:itemID="{2D14923F-3C2A-4F23-B2D1-E02D26C3B06E}">
  <ds:schemaRefs/>
</ds:datastoreItem>
</file>

<file path=customXml/itemProps25.xml><?xml version="1.0" encoding="utf-8"?>
<ds:datastoreItem xmlns:ds="http://schemas.openxmlformats.org/officeDocument/2006/customXml" ds:itemID="{13AADAA1-6894-438A-8102-B2E2579328D5}">
  <ds:schemaRefs/>
</ds:datastoreItem>
</file>

<file path=customXml/itemProps3.xml><?xml version="1.0" encoding="utf-8"?>
<ds:datastoreItem xmlns:ds="http://schemas.openxmlformats.org/officeDocument/2006/customXml" ds:itemID="{DE552B44-2897-4C87-9D34-65EB447CC4D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B4E2107-E7DB-4E2F-990D-BD6C65199AC0}">
  <ds:schemaRefs/>
</ds:datastoreItem>
</file>

<file path=customXml/itemProps5.xml><?xml version="1.0" encoding="utf-8"?>
<ds:datastoreItem xmlns:ds="http://schemas.openxmlformats.org/officeDocument/2006/customXml" ds:itemID="{694D7DD4-7F00-42FE-BE76-B088F25FCEC8}">
  <ds:schemaRefs/>
</ds:datastoreItem>
</file>

<file path=customXml/itemProps6.xml><?xml version="1.0" encoding="utf-8"?>
<ds:datastoreItem xmlns:ds="http://schemas.openxmlformats.org/officeDocument/2006/customXml" ds:itemID="{EB409FF9-1A8F-4BCA-BB86-A778F6D737DB}">
  <ds:schemaRefs/>
</ds:datastoreItem>
</file>

<file path=customXml/itemProps7.xml><?xml version="1.0" encoding="utf-8"?>
<ds:datastoreItem xmlns:ds="http://schemas.openxmlformats.org/officeDocument/2006/customXml" ds:itemID="{FE48A476-C62E-4F19-8A4C-97D2EAD56E38}">
  <ds:schemaRefs/>
</ds:datastoreItem>
</file>

<file path=customXml/itemProps8.xml><?xml version="1.0" encoding="utf-8"?>
<ds:datastoreItem xmlns:ds="http://schemas.openxmlformats.org/officeDocument/2006/customXml" ds:itemID="{5A509B86-A07B-4860-BA7B-9E29A008F16D}">
  <ds:schemaRefs/>
</ds:datastoreItem>
</file>

<file path=customXml/itemProps9.xml><?xml version="1.0" encoding="utf-8"?>
<ds:datastoreItem xmlns:ds="http://schemas.openxmlformats.org/officeDocument/2006/customXml" ds:itemID="{B9C36C6A-646F-44E5-B8B3-C24E2F3E9A1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G Rebrand</Template>
  <TotalTime>232</TotalTime>
  <Words>3175</Words>
  <Application>Microsoft Office PowerPoint</Application>
  <PresentationFormat>Widescreen</PresentationFormat>
  <Paragraphs>820</Paragraphs>
  <Slides>91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1</vt:i4>
      </vt:variant>
    </vt:vector>
  </HeadingPairs>
  <TitlesOfParts>
    <vt:vector size="108" baseType="lpstr">
      <vt:lpstr>Avenir Next LT Pro Light</vt:lpstr>
      <vt:lpstr>Calibri Light</vt:lpstr>
      <vt:lpstr>SimonKucher</vt:lpstr>
      <vt:lpstr>AmazonEmber</vt:lpstr>
      <vt:lpstr>Söhne</vt:lpstr>
      <vt:lpstr>Arial</vt:lpstr>
      <vt:lpstr>Calibri</vt:lpstr>
      <vt:lpstr>Gilroy Bold</vt:lpstr>
      <vt:lpstr>Avenir Next LT Pro Demi</vt:lpstr>
      <vt:lpstr>Wingdings</vt:lpstr>
      <vt:lpstr>Gilroy</vt:lpstr>
      <vt:lpstr>HG Rebrand</vt:lpstr>
      <vt:lpstr>1_HG Rebrand</vt:lpstr>
      <vt:lpstr>2_HG Rebrand</vt:lpstr>
      <vt:lpstr>Office Theme</vt:lpstr>
      <vt:lpstr>1_Office Theme</vt:lpstr>
      <vt:lpstr>think-cell Slide</vt:lpstr>
      <vt:lpstr>GenAI Developer Enablement Proof of Value Hackathon</vt:lpstr>
      <vt:lpstr>Workshop Plan</vt:lpstr>
      <vt:lpstr>Use of GenAI in software development</vt:lpstr>
      <vt:lpstr>Areas where GenAI tools can support software development</vt:lpstr>
      <vt:lpstr>Tooling options</vt:lpstr>
      <vt:lpstr>Use of Langchain</vt:lpstr>
      <vt:lpstr>Use of gpt-review</vt:lpstr>
      <vt:lpstr>Activity – Tooling Profiles</vt:lpstr>
      <vt:lpstr>Maximise Impact</vt:lpstr>
      <vt:lpstr>PowerPoint Presentation</vt:lpstr>
      <vt:lpstr>Software companies carry technical debt that has substantial impact</vt:lpstr>
      <vt:lpstr>PowerPoint Presentation</vt:lpstr>
      <vt:lpstr>Activity Effectiveness</vt:lpstr>
      <vt:lpstr>Event focus areas</vt:lpstr>
      <vt:lpstr>Focus exploration activities</vt:lpstr>
      <vt:lpstr>Approach</vt:lpstr>
      <vt:lpstr>GenAI Exploration Workshop format</vt:lpstr>
      <vt:lpstr>Target state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oup Update &amp; Demo</vt:lpstr>
      <vt:lpstr>Lessons Learnt &amp; Conclusions</vt:lpstr>
      <vt:lpstr>Use Case Retrospective – Outcome? Impact?</vt:lpstr>
      <vt:lpstr>Retrofit multi-tenancy</vt:lpstr>
      <vt:lpstr>Retrofit multi-tenancy</vt:lpstr>
      <vt:lpstr>Retrofit multi-tenancy</vt:lpstr>
      <vt:lpstr>Migration tool for client attachments</vt:lpstr>
      <vt:lpstr>Migration tool for client attachments</vt:lpstr>
      <vt:lpstr>Migration tool for client attachments</vt:lpstr>
      <vt:lpstr>Move database logic to application tier</vt:lpstr>
      <vt:lpstr>Move database logic to application tier</vt:lpstr>
      <vt:lpstr>Move database logic to application tier</vt:lpstr>
      <vt:lpstr>Next Steps – Focus activities</vt:lpstr>
      <vt:lpstr>Retrofit multi-tenancy</vt:lpstr>
      <vt:lpstr>Migration tool for client attachments</vt:lpstr>
      <vt:lpstr>Move database logic to application tier</vt:lpstr>
      <vt:lpstr>Wider use cases &amp; rollout</vt:lpstr>
      <vt:lpstr>Wider use cases &amp; roll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georgina manzi</dc:creator>
  <cp:lastModifiedBy>Stuart Pearce</cp:lastModifiedBy>
  <cp:revision>12</cp:revision>
  <dcterms:created xsi:type="dcterms:W3CDTF">2023-07-26T11:27:11Z</dcterms:created>
  <dcterms:modified xsi:type="dcterms:W3CDTF">2023-10-23T15:4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E4743A7735CB47AE7AB53377A1E5F4</vt:lpwstr>
  </property>
  <property fmtid="{D5CDD505-2E9C-101B-9397-08002B2CF9AE}" pid="3" name="MediaServiceImageTags">
    <vt:lpwstr/>
  </property>
  <property fmtid="{D5CDD505-2E9C-101B-9397-08002B2CF9AE}" pid="4" name="TemplafyTimeStamp">
    <vt:lpwstr>2023-06-14T13:25:45</vt:lpwstr>
  </property>
  <property fmtid="{D5CDD505-2E9C-101B-9397-08002B2CF9AE}" pid="5" name="TemplafyTenantId">
    <vt:lpwstr>hgbrand</vt:lpwstr>
  </property>
  <property fmtid="{D5CDD505-2E9C-101B-9397-08002B2CF9AE}" pid="6" name="TemplafyTemplateId">
    <vt:lpwstr>638223459425447931</vt:lpwstr>
  </property>
  <property fmtid="{D5CDD505-2E9C-101B-9397-08002B2CF9AE}" pid="7" name="TemplafyUserProfileId">
    <vt:lpwstr>638259675370369127</vt:lpwstr>
  </property>
  <property fmtid="{D5CDD505-2E9C-101B-9397-08002B2CF9AE}" pid="8" name="TemplafyFromBlank">
    <vt:bool>true</vt:bool>
  </property>
</Properties>
</file>